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11" r:id="rId5"/>
    <p:sldMasterId id="2147483742" r:id="rId6"/>
  </p:sldMasterIdLst>
  <p:notesMasterIdLst>
    <p:notesMasterId r:id="rId40"/>
  </p:notesMasterIdLst>
  <p:handoutMasterIdLst>
    <p:handoutMasterId r:id="rId41"/>
  </p:handoutMasterIdLst>
  <p:sldIdLst>
    <p:sldId id="261" r:id="rId7"/>
    <p:sldId id="2147376629" r:id="rId8"/>
    <p:sldId id="2147376584" r:id="rId9"/>
    <p:sldId id="264" r:id="rId10"/>
    <p:sldId id="2147472713" r:id="rId11"/>
    <p:sldId id="2147472714" r:id="rId12"/>
    <p:sldId id="2147376634" r:id="rId13"/>
    <p:sldId id="2147376632" r:id="rId14"/>
    <p:sldId id="2147472722" r:id="rId15"/>
    <p:sldId id="2147376633" r:id="rId16"/>
    <p:sldId id="2147472723" r:id="rId17"/>
    <p:sldId id="2147376635" r:id="rId18"/>
    <p:sldId id="2147472721" r:id="rId19"/>
    <p:sldId id="2147376630" r:id="rId20"/>
    <p:sldId id="303" r:id="rId21"/>
    <p:sldId id="262" r:id="rId22"/>
    <p:sldId id="2147472726" r:id="rId23"/>
    <p:sldId id="304" r:id="rId24"/>
    <p:sldId id="305" r:id="rId25"/>
    <p:sldId id="306" r:id="rId26"/>
    <p:sldId id="307" r:id="rId27"/>
    <p:sldId id="310" r:id="rId28"/>
    <p:sldId id="308" r:id="rId29"/>
    <p:sldId id="309" r:id="rId30"/>
    <p:sldId id="2147472724" r:id="rId31"/>
    <p:sldId id="2147472725" r:id="rId32"/>
    <p:sldId id="2147472715" r:id="rId33"/>
    <p:sldId id="2147472716" r:id="rId34"/>
    <p:sldId id="2147472717" r:id="rId35"/>
    <p:sldId id="2147472718" r:id="rId36"/>
    <p:sldId id="2147472719" r:id="rId37"/>
    <p:sldId id="2147472720" r:id="rId38"/>
    <p:sldId id="2147376401" r:id="rId39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B8E5C9-8C94-DF5B-0F66-DEE7911B3EFF}" v="584" dt="2024-04-23T07:32:45.539"/>
    <p1510:client id="{767AEFB0-8946-4B0F-919E-A7EE8C601269}" v="1507" dt="2024-04-23T09:48:06.887"/>
    <p1510:client id="{BFF6A799-7918-CAB9-DB4D-AE630EBBB315}" v="1" dt="2024-04-23T13:52:00.259"/>
    <p1510:client id="{C1352F86-E743-4A9F-AC09-B45F875DBE57}" v="451" dt="2024-04-23T08:39:45.1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7.xml" Id="rId13" /><Relationship Type="http://schemas.openxmlformats.org/officeDocument/2006/relationships/slide" Target="slides/slide12.xml" Id="rId18" /><Relationship Type="http://schemas.openxmlformats.org/officeDocument/2006/relationships/slide" Target="slides/slide20.xml" Id="rId26" /><Relationship Type="http://schemas.openxmlformats.org/officeDocument/2006/relationships/slide" Target="slides/slide33.xml" Id="rId39" /><Relationship Type="http://schemas.openxmlformats.org/officeDocument/2006/relationships/slide" Target="slides/slide15.xml" Id="rId21" /><Relationship Type="http://schemas.openxmlformats.org/officeDocument/2006/relationships/slide" Target="slides/slide28.xml" Id="rId34" /><Relationship Type="http://schemas.openxmlformats.org/officeDocument/2006/relationships/presProps" Target="presProps.xml" Id="rId42" /><Relationship Type="http://schemas.microsoft.com/office/2015/10/relationships/revisionInfo" Target="revisionInfo.xml" Id="rId47" /><Relationship Type="http://schemas.openxmlformats.org/officeDocument/2006/relationships/slide" Target="slides/slide1.xml" Id="rId7" /><Relationship Type="http://schemas.openxmlformats.org/officeDocument/2006/relationships/customXml" Target="../customXml/item2.xml" Id="rId2" /><Relationship Type="http://schemas.openxmlformats.org/officeDocument/2006/relationships/slide" Target="slides/slide10.xml" Id="rId16" /><Relationship Type="http://schemas.openxmlformats.org/officeDocument/2006/relationships/slide" Target="slides/slide23.xml" Id="rId29" /><Relationship Type="http://schemas.openxmlformats.org/officeDocument/2006/relationships/customXml" Target="../customXml/item1.xml" Id="rId1" /><Relationship Type="http://schemas.openxmlformats.org/officeDocument/2006/relationships/slideMaster" Target="slideMasters/slideMaster3.xml" Id="rId6" /><Relationship Type="http://schemas.openxmlformats.org/officeDocument/2006/relationships/slide" Target="slides/slide5.xml" Id="rId11" /><Relationship Type="http://schemas.openxmlformats.org/officeDocument/2006/relationships/slide" Target="slides/slide18.xml" Id="rId24" /><Relationship Type="http://schemas.openxmlformats.org/officeDocument/2006/relationships/slide" Target="slides/slide26.xml" Id="rId32" /><Relationship Type="http://schemas.openxmlformats.org/officeDocument/2006/relationships/slide" Target="slides/slide31.xml" Id="rId37" /><Relationship Type="http://schemas.openxmlformats.org/officeDocument/2006/relationships/notesMaster" Target="notesMasters/notesMaster1.xml" Id="rId40" /><Relationship Type="http://schemas.openxmlformats.org/officeDocument/2006/relationships/tableStyles" Target="tableStyles.xml" Id="rId45" /><Relationship Type="http://schemas.openxmlformats.org/officeDocument/2006/relationships/slideMaster" Target="slideMasters/slideMaster2.xml" Id="rId5" /><Relationship Type="http://schemas.openxmlformats.org/officeDocument/2006/relationships/slide" Target="slides/slide9.xml" Id="rId15" /><Relationship Type="http://schemas.openxmlformats.org/officeDocument/2006/relationships/slide" Target="slides/slide17.xml" Id="rId23" /><Relationship Type="http://schemas.openxmlformats.org/officeDocument/2006/relationships/slide" Target="slides/slide22.xml" Id="rId28" /><Relationship Type="http://schemas.openxmlformats.org/officeDocument/2006/relationships/slide" Target="slides/slide30.xml" Id="rId36" /><Relationship Type="http://schemas.openxmlformats.org/officeDocument/2006/relationships/slide" Target="slides/slide4.xml" Id="rId10" /><Relationship Type="http://schemas.openxmlformats.org/officeDocument/2006/relationships/slide" Target="slides/slide13.xml" Id="rId19" /><Relationship Type="http://schemas.openxmlformats.org/officeDocument/2006/relationships/slide" Target="slides/slide25.xml" Id="rId31" /><Relationship Type="http://schemas.openxmlformats.org/officeDocument/2006/relationships/theme" Target="theme/theme1.xml" Id="rId44" /><Relationship Type="http://schemas.openxmlformats.org/officeDocument/2006/relationships/slideMaster" Target="slideMasters/slideMaster1.xml" Id="rId4" /><Relationship Type="http://schemas.openxmlformats.org/officeDocument/2006/relationships/slide" Target="slides/slide3.xml" Id="rId9" /><Relationship Type="http://schemas.openxmlformats.org/officeDocument/2006/relationships/slide" Target="slides/slide8.xml" Id="rId14" /><Relationship Type="http://schemas.openxmlformats.org/officeDocument/2006/relationships/slide" Target="slides/slide16.xml" Id="rId22" /><Relationship Type="http://schemas.openxmlformats.org/officeDocument/2006/relationships/slide" Target="slides/slide21.xml" Id="rId27" /><Relationship Type="http://schemas.openxmlformats.org/officeDocument/2006/relationships/slide" Target="slides/slide24.xml" Id="rId30" /><Relationship Type="http://schemas.openxmlformats.org/officeDocument/2006/relationships/slide" Target="slides/slide29.xml" Id="rId35" /><Relationship Type="http://schemas.openxmlformats.org/officeDocument/2006/relationships/viewProps" Target="viewProps.xml" Id="rId43" /><Relationship Type="http://schemas.openxmlformats.org/officeDocument/2006/relationships/slide" Target="slides/slide2.xml" Id="rId8" /><Relationship Type="http://schemas.openxmlformats.org/officeDocument/2006/relationships/customXml" Target="../customXml/item3.xml" Id="rId3" /><Relationship Type="http://schemas.openxmlformats.org/officeDocument/2006/relationships/slide" Target="slides/slide6.xml" Id="rId12" /><Relationship Type="http://schemas.openxmlformats.org/officeDocument/2006/relationships/slide" Target="slides/slide11.xml" Id="rId17" /><Relationship Type="http://schemas.openxmlformats.org/officeDocument/2006/relationships/slide" Target="slides/slide19.xml" Id="rId25" /><Relationship Type="http://schemas.openxmlformats.org/officeDocument/2006/relationships/slide" Target="slides/slide27.xml" Id="rId33" /><Relationship Type="http://schemas.openxmlformats.org/officeDocument/2006/relationships/slide" Target="slides/slide32.xml" Id="rId38" /><Relationship Type="http://schemas.openxmlformats.org/officeDocument/2006/relationships/slide" Target="slides/slide14.xml" Id="rId20" /><Relationship Type="http://schemas.openxmlformats.org/officeDocument/2006/relationships/handoutMaster" Target="handoutMasters/handoutMaster1.xml" Id="rId41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509EFAB-2AC3-EA4C-A120-6B9265D304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18045ED-F8EA-4C46-8992-D5B57D2BFDC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FE6ED-EFB6-5A41-A6A2-A6405F876DBA}" type="datetimeFigureOut">
              <a:rPr lang="en-NO" smtClean="0"/>
              <a:t>04/23/2024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11FE58-F739-8345-9CA1-E2682EC258E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D1A646-B356-9944-B96F-F85EC39FA8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CC468A-2D78-554A-B81B-A31CF61FB37B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96979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A870F-5722-F943-B7EC-63FCF7B04B54}" type="datetimeFigureOut">
              <a:rPr lang="en-NO" smtClean="0"/>
              <a:t>04/23/2024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E679D3-ECCE-D546-837A-F833BE420DD6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55886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nl.no/eiendomsrett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tatnett sørger for: </a:t>
            </a:r>
          </a:p>
          <a:p>
            <a:r>
              <a:rPr lang="nb-NO"/>
              <a:t>- sikker strømforsyning</a:t>
            </a:r>
            <a:endParaRPr lang="nb-NO">
              <a:cs typeface="Calibri"/>
            </a:endParaRPr>
          </a:p>
          <a:p>
            <a:r>
              <a:rPr lang="nb-NO"/>
              <a:t>- utvikler løsninger som utnytter kraftsystemet effektivt</a:t>
            </a:r>
            <a:endParaRPr lang="nb-NO">
              <a:cs typeface="Calibri"/>
            </a:endParaRPr>
          </a:p>
          <a:p>
            <a:r>
              <a:rPr lang="nb-NO"/>
              <a:t>- legger til rette for samfunnets utvikling</a:t>
            </a:r>
            <a:endParaRPr lang="nb-NO">
              <a:cs typeface="Calibri"/>
            </a:endParaRPr>
          </a:p>
          <a:p>
            <a:r>
              <a:rPr lang="nb-NO"/>
              <a:t>- realiserer bærekraftig verdiskapning</a:t>
            </a:r>
            <a:endParaRPr lang="nb-NO">
              <a:cs typeface="Calibri"/>
            </a:endParaRPr>
          </a:p>
          <a:p>
            <a:endParaRPr lang="nb-NO"/>
          </a:p>
          <a:p>
            <a:r>
              <a:rPr lang="nb-NO"/>
              <a:t>Statnett velger samfunnsøkonomisk rasjonelle løsninger. Dette innebærer at fordelene og nytten for samfunnet skal overstige ulemper og kostnader ved tiltakene. På alle områder innebærer dette å avveie merkostnadene for økt kvalitet og kapasitet opp mot kostnader og miljøinngrep knyttet til tiltakene. Det betyr også å avveie mål fra et samfunnsmessig perspektiv, for eksempel ved å vurdere nivå på forsyningssikkerhet opp mot kapasitet til kundetilknytninger</a:t>
            </a:r>
          </a:p>
          <a:p>
            <a:endParaRPr lang="nb-NO"/>
          </a:p>
          <a:p>
            <a:pPr>
              <a:defRPr/>
            </a:pPr>
            <a:r>
              <a:rPr lang="nb-NO"/>
              <a:t>Vi skal løse oppdraget vårt effektivt, skape verdi over tid og opptre på en ansvarlig og bærekraftig måte. </a:t>
            </a:r>
            <a:endParaRPr lang="nb-NO">
              <a:cs typeface="Calibri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CFE3B9-52D1-42FE-92CD-CA47152D276C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696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nb-NO" b="0" i="0" u="sng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inn 1 omfatter primært tiltak som pågår, og vil være i drift ila 5-6 år. </a:t>
            </a:r>
            <a:r>
              <a:rPr lang="en-US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nb-NO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er inngår først og fremst:</a:t>
            </a:r>
            <a:r>
              <a:rPr lang="en-US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mfattende nettforsterkninger for kapasitetsøkning i Finnmark. 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2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ack To Back mot Finland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2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iltak for kapasitetsøkning kombinert med fornyelse i Sørnettet. 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'</a:t>
            </a:r>
          </a:p>
          <a:p>
            <a:pPr algn="l" rtl="0" fontAlgn="base">
              <a:buFont typeface="Arial" panose="020B0604020202020204" pitchFamily="34" charset="0"/>
              <a:buNone/>
            </a:pPr>
            <a:endParaRPr lang="en-US" sz="1200" b="0" i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nb-NO" b="0" i="0" u="sng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r>
              <a:rPr lang="nb-NO" b="0" i="0" u="sng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inn 2 omfatter tiltak som planlegges igangsatt i løpet av de nærmeste to årene.</a:t>
            </a:r>
            <a:r>
              <a:rPr lang="en-US" b="0" i="0" u="sng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nb-NO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er inngår først og fremst:</a:t>
            </a:r>
            <a:r>
              <a:rPr lang="en-US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nyelser av mange 132 kV stasjoner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2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Økt ledningskapasitet i Sørnettet. 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2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12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aser ut gamle GIS anlegg på 420 kV. </a:t>
            </a:r>
            <a:r>
              <a:rPr lang="en-US" sz="12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12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nb-NO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</a:p>
          <a:p>
            <a:pPr algn="l" rtl="0" fontAlgn="base"/>
            <a:r>
              <a:rPr lang="nb-NO" b="0" i="0" u="sng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inn 3 omfatter større tiltak for økt kapasitet samt fornyelse. Er så langt ikke igangsatt arbeid. </a:t>
            </a:r>
            <a:r>
              <a:rPr lang="en-US" b="0" i="0" u="sng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u="sng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nb-NO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ndre omfattende tiltak kan være i drift noe før 2030. Nye større ledningsprosjekter i 2032-35. </a:t>
            </a:r>
            <a:r>
              <a:rPr lang="en-US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nb-NO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er inngår først og fremst:</a:t>
            </a:r>
            <a:r>
              <a:rPr lang="en-US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y overføringskapasitet inn over Ofoten sør/østfra</a:t>
            </a:r>
            <a:r>
              <a:rPr lang="en-US" sz="8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8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y overføringskapasitet inn til Finnmark, Balsfjord-Skaidi 2. Via Tromsø vurderes.</a:t>
            </a:r>
            <a:r>
              <a:rPr lang="en-US" sz="8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8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y kapasitet over Vestsnittet</a:t>
            </a:r>
            <a:r>
              <a:rPr lang="en-US" sz="8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8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nb-NO" sz="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ornyelser / ombygging Varangerbotn-Kirkenes-Skogfoss </a:t>
            </a:r>
            <a:r>
              <a:rPr lang="nb-NO" sz="800" b="0" i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nb-NO" sz="800" b="0" i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endParaRPr lang="nb-NO" b="0" i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E679D3-ECCE-D546-837A-F833BE420DD6}" type="slidenum">
              <a:rPr kumimoji="0" lang="e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6308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0" i="0">
                <a:solidFill>
                  <a:srgbClr val="203E51"/>
                </a:solidFill>
                <a:effectLst/>
                <a:latin typeface="Publico text"/>
              </a:rPr>
              <a:t>Ekspropriasjon er å bli tvunget til å gi fra seg </a:t>
            </a:r>
            <a:r>
              <a:rPr lang="nb-NO" b="0" i="0" u="none" strike="noStrike">
                <a:effectLst/>
                <a:latin typeface="Publico text"/>
                <a:hlinkClick r:id="rId3"/>
              </a:rPr>
              <a:t>eiendomsrett</a:t>
            </a:r>
            <a:r>
              <a:rPr lang="nb-NO" b="0" i="0">
                <a:solidFill>
                  <a:srgbClr val="203E51"/>
                </a:solidFill>
                <a:effectLst/>
                <a:latin typeface="Publico text"/>
              </a:rPr>
              <a:t> eller andre </a:t>
            </a:r>
            <a:r>
              <a:rPr lang="nb-NO" b="0" i="0" err="1">
                <a:solidFill>
                  <a:srgbClr val="203E51"/>
                </a:solidFill>
                <a:effectLst/>
                <a:latin typeface="Publico text"/>
              </a:rPr>
              <a:t>formuesrettigheter</a:t>
            </a:r>
            <a:r>
              <a:rPr lang="nb-NO" b="0" i="0">
                <a:solidFill>
                  <a:srgbClr val="203E51"/>
                </a:solidFill>
                <a:effectLst/>
                <a:latin typeface="Publico text"/>
              </a:rPr>
              <a:t> mot full erstatning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E679D3-ECCE-D546-837A-F833BE420DD6}" type="slidenum">
              <a:rPr lang="en-NO" smtClean="0"/>
              <a:t>28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533056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Kjøp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ikk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grunnen</a:t>
            </a:r>
            <a:r>
              <a:rPr lang="en-US">
                <a:cs typeface="Calibri"/>
              </a:rPr>
              <a:t>, </a:t>
            </a:r>
            <a:r>
              <a:rPr lang="en-US" err="1">
                <a:cs typeface="Calibri"/>
              </a:rPr>
              <a:t>erverv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e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rettighe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il</a:t>
            </a:r>
            <a:r>
              <a:rPr lang="en-US">
                <a:cs typeface="Calibri"/>
              </a:rPr>
              <a:t> å ha </a:t>
            </a:r>
            <a:r>
              <a:rPr lang="en-US" err="1">
                <a:cs typeface="Calibri"/>
              </a:rPr>
              <a:t>kraftledning</a:t>
            </a:r>
            <a:r>
              <a:rPr lang="en-US">
                <a:cs typeface="Calibri"/>
              </a:rPr>
              <a:t>. Veger </a:t>
            </a:r>
            <a:r>
              <a:rPr lang="en-US" err="1">
                <a:cs typeface="Calibri"/>
              </a:rPr>
              <a:t>betaler</a:t>
            </a:r>
            <a:r>
              <a:rPr lang="en-US">
                <a:cs typeface="Calibri"/>
              </a:rPr>
              <a:t> for </a:t>
            </a:r>
            <a:r>
              <a:rPr lang="en-US" err="1">
                <a:cs typeface="Calibri"/>
              </a:rPr>
              <a:t>bruken</a:t>
            </a:r>
            <a:r>
              <a:rPr lang="en-US">
                <a:cs typeface="Calibri"/>
              </a:rPr>
              <a:t> I </a:t>
            </a:r>
            <a:r>
              <a:rPr lang="en-US" err="1">
                <a:cs typeface="Calibri"/>
              </a:rPr>
              <a:t>anleggstide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amtidi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kaff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ss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e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bruksrett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til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ettersyn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vedlikehold</a:t>
            </a:r>
            <a:r>
              <a:rPr lang="en-US">
                <a:cs typeface="Calibri"/>
              </a:rPr>
              <a:t> av lednigen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E679D3-ECCE-D546-837A-F833BE420DD6}" type="slidenum">
              <a:rPr lang="en-NO" smtClean="0"/>
              <a:t>2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924549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oen flere lover som regulerer erstatningsprosessen, ekspropriasjonserstatningsloven. To grunneieradvokater er inne i saken: </a:t>
            </a:r>
            <a:r>
              <a:rPr lang="nb-NO" err="1"/>
              <a:t>Kirkesæther</a:t>
            </a:r>
            <a:r>
              <a:rPr lang="nb-NO"/>
              <a:t> og Co og Hegg ( Benny Solheim). Dekker utgifter til "nødvendig juridisk bistand" i erstatningssaken. Krav om </a:t>
            </a:r>
            <a:r>
              <a:rPr lang="nb-NO" err="1"/>
              <a:t>samordning.Dekker</a:t>
            </a:r>
            <a:r>
              <a:rPr lang="nb-NO"/>
              <a:t> utgifter til "nødvendig juridisk bistand" i erstatningssaken. Krav om samordning.  </a:t>
            </a:r>
            <a:endParaRPr lang="nb-NO">
              <a:cs typeface="Calibri"/>
            </a:endParaRPr>
          </a:p>
          <a:p>
            <a:r>
              <a:rPr lang="nb-NO"/>
              <a:t>Statnett er forpliktet til å sette i gang skjønn dersom partene ikke blir enige – grunneieren skal sikres en rettslig prosess for fastsettelse av erstatningen </a:t>
            </a:r>
            <a:endParaRPr lang="nb-NO">
              <a:cs typeface="Calibri"/>
            </a:endParaRPr>
          </a:p>
          <a:p>
            <a:r>
              <a:rPr lang="nb-NO"/>
              <a:t> </a:t>
            </a:r>
            <a:endParaRPr lang="nb-NO">
              <a:cs typeface="Calibri"/>
            </a:endParaRPr>
          </a:p>
          <a:p>
            <a:r>
              <a:rPr lang="nb-NO"/>
              <a:t>Prinsipp om at "en minnelig avtale skal være gunstig for begge parter" </a:t>
            </a:r>
            <a:endParaRPr lang="nb-NO">
              <a:cs typeface="Calibri"/>
            </a:endParaRPr>
          </a:p>
          <a:p>
            <a:endParaRPr lang="nb-NO">
              <a:cs typeface="Calibri"/>
            </a:endParaRPr>
          </a:p>
          <a:p>
            <a:r>
              <a:rPr lang="nb-NO"/>
              <a:t>Statnett er forpliktet til å sette i gang skjønn dersom partene ikke blir enige – grunneieren skal sikres en rettslig prosess for fastsettelse av erstatningen </a:t>
            </a:r>
            <a:endParaRPr lang="nb-NO">
              <a:cs typeface="Calibri"/>
            </a:endParaRPr>
          </a:p>
          <a:p>
            <a:r>
              <a:rPr lang="nb-NO"/>
              <a:t> </a:t>
            </a:r>
            <a:endParaRPr lang="nb-NO">
              <a:cs typeface="Calibri"/>
            </a:endParaRPr>
          </a:p>
          <a:p>
            <a:r>
              <a:rPr lang="nb-NO"/>
              <a:t> </a:t>
            </a:r>
            <a:endParaRPr lang="nb-NO">
              <a:cs typeface="Calibri"/>
            </a:endParaRPr>
          </a:p>
          <a:p>
            <a:r>
              <a:rPr lang="nb-NO"/>
              <a:t> </a:t>
            </a:r>
            <a:endParaRPr lang="nb-NO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E679D3-ECCE-D546-837A-F833BE420DD6}" type="slidenum">
              <a:rPr lang="en-NO" smtClean="0"/>
              <a:t>30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695138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kogtakst/verditakst gjennomført 2022. Mulighet for å få innsyn i dette materialet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E679D3-ECCE-D546-837A-F833BE420DD6}" type="slidenum">
              <a:rPr lang="en-NO" smtClean="0"/>
              <a:t>32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096464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Intervall for ekstern kommunikasjon: 2,7 – 3,5 MRD NOK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E679D3-ECCE-D546-837A-F833BE420DD6}" type="slidenum">
              <a:rPr kumimoji="0" lang="e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633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6" Type="http://schemas.openxmlformats.org/officeDocument/2006/relationships/image" Target="../media/image18.jpeg"/><Relationship Id="rId5" Type="http://schemas.openxmlformats.org/officeDocument/2006/relationships/image" Target="../media/image2.emf"/><Relationship Id="rId4" Type="http://schemas.openxmlformats.org/officeDocument/2006/relationships/image" Target="../media/image32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8713FBB8-EC19-5D40-8E51-F310DB770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16548-72D6-DB47-9C9B-681A6AD49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404326"/>
            <a:ext cx="10515600" cy="1420743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FF6ED3-4DE2-9246-8B85-6160400B52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926359"/>
            <a:ext cx="10515600" cy="426527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 marL="0" indent="0">
              <a:buNone/>
              <a:defRPr sz="24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71E653-17F8-1A40-949A-2631A34930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099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24" b="-724"/>
          <a:stretch/>
        </p:blipFill>
        <p:spPr>
          <a:xfrm>
            <a:off x="0" y="241200"/>
            <a:ext cx="12192000" cy="66650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F8B81C-364C-B64C-985A-41AD14939BE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2FF7AF-FB6D-9C4E-88F4-ACE92FAB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" panose="020F05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FDF389-151F-D74D-B16A-897CA1511833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55408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7F9F9841-FF73-422B-9FFD-00B4E6C957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C1BC83A-54D4-4BE9-8C44-B7104BE19B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3344" y="37541"/>
            <a:ext cx="1571328" cy="89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1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794D6918-980F-4FD4-A8F8-7B2078B823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" y="-27384"/>
            <a:ext cx="12240683" cy="6885384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102328A-E5AA-4F4B-A920-2D3D038B6B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1384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405" t="37999" r="31141" b="49556"/>
          <a:stretch/>
        </p:blipFill>
        <p:spPr>
          <a:xfrm>
            <a:off x="10440001" y="353090"/>
            <a:ext cx="1359339" cy="319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6407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04CB6CB7-BD03-46D9-9361-22D3EF0C6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69581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192003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601AC42-36F6-4166-A8D0-BB088C8CCD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48413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E96E01F-0111-4423-9510-7A6EF27D1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07477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78"/>
            <a:ext cx="12192000" cy="6855724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92A3A4F-5FD3-4F5A-9DFD-24716FA428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0455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78"/>
            <a:ext cx="12192000" cy="6855724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8A028EAE-4A5E-4C0D-8326-F5400D24AB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6133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/>
          <p:cNvSpPr>
            <a:spLocks noGrp="1"/>
          </p:cNvSpPr>
          <p:nvPr>
            <p:ph type="pic" sz="quarter" idx="15" hasCustomPrompt="1"/>
          </p:nvPr>
        </p:nvSpPr>
        <p:spPr>
          <a:xfrm>
            <a:off x="307807" y="976422"/>
            <a:ext cx="11569447" cy="5332900"/>
          </a:xfrm>
          <a:custGeom>
            <a:avLst/>
            <a:gdLst>
              <a:gd name="connsiteX0" fmla="*/ 0 w 8510400"/>
              <a:gd name="connsiteY0" fmla="*/ 0 h 5626148"/>
              <a:gd name="connsiteX1" fmla="*/ 8510400 w 8510400"/>
              <a:gd name="connsiteY1" fmla="*/ 0 h 5626148"/>
              <a:gd name="connsiteX2" fmla="*/ 8510400 w 8510400"/>
              <a:gd name="connsiteY2" fmla="*/ 5626148 h 5626148"/>
              <a:gd name="connsiteX3" fmla="*/ 0 w 8510400"/>
              <a:gd name="connsiteY3" fmla="*/ 5626148 h 5626148"/>
              <a:gd name="connsiteX4" fmla="*/ 0 w 8510400"/>
              <a:gd name="connsiteY4" fmla="*/ 0 h 5626148"/>
              <a:gd name="connsiteX0" fmla="*/ 2059 w 8512459"/>
              <a:gd name="connsiteY0" fmla="*/ 0 h 5626148"/>
              <a:gd name="connsiteX1" fmla="*/ 8512459 w 8512459"/>
              <a:gd name="connsiteY1" fmla="*/ 0 h 5626148"/>
              <a:gd name="connsiteX2" fmla="*/ 8512459 w 8512459"/>
              <a:gd name="connsiteY2" fmla="*/ 5626148 h 5626148"/>
              <a:gd name="connsiteX3" fmla="*/ 2059 w 8512459"/>
              <a:gd name="connsiteY3" fmla="*/ 5626148 h 5626148"/>
              <a:gd name="connsiteX4" fmla="*/ 0 w 8512459"/>
              <a:gd name="connsiteY4" fmla="*/ 2104701 h 5626148"/>
              <a:gd name="connsiteX5" fmla="*/ 2059 w 8512459"/>
              <a:gd name="connsiteY5" fmla="*/ 0 h 5626148"/>
              <a:gd name="connsiteX0" fmla="*/ 0 w 8512459"/>
              <a:gd name="connsiteY0" fmla="*/ 2222242 h 5743689"/>
              <a:gd name="connsiteX1" fmla="*/ 8512459 w 8512459"/>
              <a:gd name="connsiteY1" fmla="*/ 117541 h 5743689"/>
              <a:gd name="connsiteX2" fmla="*/ 8512459 w 8512459"/>
              <a:gd name="connsiteY2" fmla="*/ 5743689 h 5743689"/>
              <a:gd name="connsiteX3" fmla="*/ 2059 w 8512459"/>
              <a:gd name="connsiteY3" fmla="*/ 5743689 h 5743689"/>
              <a:gd name="connsiteX4" fmla="*/ 0 w 8512459"/>
              <a:gd name="connsiteY4" fmla="*/ 2222242 h 5743689"/>
              <a:gd name="connsiteX0" fmla="*/ 0 w 8512459"/>
              <a:gd name="connsiteY0" fmla="*/ 2104701 h 5626148"/>
              <a:gd name="connsiteX1" fmla="*/ 8512459 w 8512459"/>
              <a:gd name="connsiteY1" fmla="*/ 0 h 5626148"/>
              <a:gd name="connsiteX2" fmla="*/ 8512459 w 8512459"/>
              <a:gd name="connsiteY2" fmla="*/ 5626148 h 5626148"/>
              <a:gd name="connsiteX3" fmla="*/ 2059 w 8512459"/>
              <a:gd name="connsiteY3" fmla="*/ 5626148 h 5626148"/>
              <a:gd name="connsiteX4" fmla="*/ 0 w 8512459"/>
              <a:gd name="connsiteY4" fmla="*/ 2104701 h 5626148"/>
              <a:gd name="connsiteX0" fmla="*/ 631423 w 9143882"/>
              <a:gd name="connsiteY0" fmla="*/ 2104701 h 5626148"/>
              <a:gd name="connsiteX1" fmla="*/ 9143882 w 9143882"/>
              <a:gd name="connsiteY1" fmla="*/ 0 h 5626148"/>
              <a:gd name="connsiteX2" fmla="*/ 9143882 w 9143882"/>
              <a:gd name="connsiteY2" fmla="*/ 5626148 h 5626148"/>
              <a:gd name="connsiteX3" fmla="*/ 633482 w 9143882"/>
              <a:gd name="connsiteY3" fmla="*/ 5626148 h 5626148"/>
              <a:gd name="connsiteX4" fmla="*/ 629041 w 9143882"/>
              <a:gd name="connsiteY4" fmla="*/ 2868336 h 5626148"/>
              <a:gd name="connsiteX5" fmla="*/ 631423 w 9143882"/>
              <a:gd name="connsiteY5" fmla="*/ 2104701 h 5626148"/>
              <a:gd name="connsiteX0" fmla="*/ 629747 w 9142206"/>
              <a:gd name="connsiteY0" fmla="*/ 2104701 h 5626148"/>
              <a:gd name="connsiteX1" fmla="*/ 9142206 w 9142206"/>
              <a:gd name="connsiteY1" fmla="*/ 0 h 5626148"/>
              <a:gd name="connsiteX2" fmla="*/ 9142206 w 9142206"/>
              <a:gd name="connsiteY2" fmla="*/ 5626148 h 5626148"/>
              <a:gd name="connsiteX3" fmla="*/ 631806 w 9142206"/>
              <a:gd name="connsiteY3" fmla="*/ 5626148 h 5626148"/>
              <a:gd name="connsiteX4" fmla="*/ 627365 w 9142206"/>
              <a:gd name="connsiteY4" fmla="*/ 2868336 h 5626148"/>
              <a:gd name="connsiteX5" fmla="*/ 629747 w 9142206"/>
              <a:gd name="connsiteY5" fmla="*/ 2104701 h 5626148"/>
              <a:gd name="connsiteX0" fmla="*/ 2382 w 8514841"/>
              <a:gd name="connsiteY0" fmla="*/ 2104701 h 5626148"/>
              <a:gd name="connsiteX1" fmla="*/ 8514841 w 8514841"/>
              <a:gd name="connsiteY1" fmla="*/ 0 h 5626148"/>
              <a:gd name="connsiteX2" fmla="*/ 8514841 w 8514841"/>
              <a:gd name="connsiteY2" fmla="*/ 5626148 h 5626148"/>
              <a:gd name="connsiteX3" fmla="*/ 4441 w 8514841"/>
              <a:gd name="connsiteY3" fmla="*/ 5626148 h 5626148"/>
              <a:gd name="connsiteX4" fmla="*/ 0 w 8514841"/>
              <a:gd name="connsiteY4" fmla="*/ 2868336 h 5626148"/>
              <a:gd name="connsiteX5" fmla="*/ 2382 w 8514841"/>
              <a:gd name="connsiteY5" fmla="*/ 2104701 h 5626148"/>
              <a:gd name="connsiteX0" fmla="*/ 0 w 8514841"/>
              <a:gd name="connsiteY0" fmla="*/ 2868336 h 5626148"/>
              <a:gd name="connsiteX1" fmla="*/ 8514841 w 8514841"/>
              <a:gd name="connsiteY1" fmla="*/ 0 h 5626148"/>
              <a:gd name="connsiteX2" fmla="*/ 8514841 w 8514841"/>
              <a:gd name="connsiteY2" fmla="*/ 5626148 h 5626148"/>
              <a:gd name="connsiteX3" fmla="*/ 4441 w 8514841"/>
              <a:gd name="connsiteY3" fmla="*/ 5626148 h 5626148"/>
              <a:gd name="connsiteX4" fmla="*/ 0 w 8514841"/>
              <a:gd name="connsiteY4" fmla="*/ 2868336 h 5626148"/>
              <a:gd name="connsiteX0" fmla="*/ 0 w 8514841"/>
              <a:gd name="connsiteY0" fmla="*/ 2868336 h 5626148"/>
              <a:gd name="connsiteX1" fmla="*/ 8514841 w 8514841"/>
              <a:gd name="connsiteY1" fmla="*/ 0 h 5626148"/>
              <a:gd name="connsiteX2" fmla="*/ 8514841 w 8514841"/>
              <a:gd name="connsiteY2" fmla="*/ 5626148 h 5626148"/>
              <a:gd name="connsiteX3" fmla="*/ 4441 w 8514841"/>
              <a:gd name="connsiteY3" fmla="*/ 5626148 h 5626148"/>
              <a:gd name="connsiteX4" fmla="*/ 0 w 8514841"/>
              <a:gd name="connsiteY4" fmla="*/ 2868336 h 5626148"/>
              <a:gd name="connsiteX0" fmla="*/ 0 w 8514841"/>
              <a:gd name="connsiteY0" fmla="*/ 2868336 h 5626148"/>
              <a:gd name="connsiteX1" fmla="*/ 8514841 w 8514841"/>
              <a:gd name="connsiteY1" fmla="*/ 0 h 5626148"/>
              <a:gd name="connsiteX2" fmla="*/ 8514841 w 8514841"/>
              <a:gd name="connsiteY2" fmla="*/ 5626148 h 5626148"/>
              <a:gd name="connsiteX3" fmla="*/ 4441 w 8514841"/>
              <a:gd name="connsiteY3" fmla="*/ 5626148 h 5626148"/>
              <a:gd name="connsiteX4" fmla="*/ 0 w 8514841"/>
              <a:gd name="connsiteY4" fmla="*/ 2868336 h 5626148"/>
              <a:gd name="connsiteX0" fmla="*/ 5092 w 8519933"/>
              <a:gd name="connsiteY0" fmla="*/ 2868336 h 5630618"/>
              <a:gd name="connsiteX1" fmla="*/ 8519933 w 8519933"/>
              <a:gd name="connsiteY1" fmla="*/ 0 h 5630618"/>
              <a:gd name="connsiteX2" fmla="*/ 8519933 w 8519933"/>
              <a:gd name="connsiteY2" fmla="*/ 5626148 h 5630618"/>
              <a:gd name="connsiteX3" fmla="*/ 186 w 8519933"/>
              <a:gd name="connsiteY3" fmla="*/ 5630618 h 5630618"/>
              <a:gd name="connsiteX4" fmla="*/ 5092 w 8519933"/>
              <a:gd name="connsiteY4" fmla="*/ 2868336 h 5630618"/>
              <a:gd name="connsiteX0" fmla="*/ 0 w 8514841"/>
              <a:gd name="connsiteY0" fmla="*/ 2868336 h 5630618"/>
              <a:gd name="connsiteX1" fmla="*/ 8514841 w 8514841"/>
              <a:gd name="connsiteY1" fmla="*/ 0 h 5630618"/>
              <a:gd name="connsiteX2" fmla="*/ 8514841 w 8514841"/>
              <a:gd name="connsiteY2" fmla="*/ 5626148 h 5630618"/>
              <a:gd name="connsiteX3" fmla="*/ 1326 w 8514841"/>
              <a:gd name="connsiteY3" fmla="*/ 5630618 h 5630618"/>
              <a:gd name="connsiteX4" fmla="*/ 0 w 8514841"/>
              <a:gd name="connsiteY4" fmla="*/ 2868336 h 5630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14841" h="5630618">
                <a:moveTo>
                  <a:pt x="0" y="2868336"/>
                </a:moveTo>
                <a:lnTo>
                  <a:pt x="8514841" y="0"/>
                </a:lnTo>
                <a:lnTo>
                  <a:pt x="8514841" y="5626148"/>
                </a:lnTo>
                <a:lnTo>
                  <a:pt x="1326" y="5630618"/>
                </a:lnTo>
                <a:cubicBezTo>
                  <a:pt x="-154" y="5127027"/>
                  <a:pt x="1480" y="3787607"/>
                  <a:pt x="0" y="2868336"/>
                </a:cubicBez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508000" ty="254000" sx="65000" sy="65000" flip="none" algn="ctr"/>
          </a:blipFill>
        </p:spPr>
        <p:txBody>
          <a:bodyPr tIns="2232000"/>
          <a:lstStyle>
            <a:lvl1pPr marL="0" indent="0" algn="ctr">
              <a:buNone/>
              <a:defRPr baseline="0"/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5413" y="821562"/>
            <a:ext cx="8160907" cy="574516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5414" y="1555257"/>
            <a:ext cx="6706396" cy="377625"/>
          </a:xfrm>
        </p:spPr>
        <p:txBody>
          <a:bodyPr wrap="square">
            <a:spAutoFit/>
          </a:bodyPr>
          <a:lstStyle>
            <a:lvl1pPr marL="0" indent="0" algn="l">
              <a:buNone/>
              <a:defRPr sz="1867" b="1" i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6"/>
          </p:nvPr>
        </p:nvSpPr>
        <p:spPr>
          <a:xfrm>
            <a:off x="8298421" y="6465584"/>
            <a:ext cx="1788683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7"/>
          </p:nvPr>
        </p:nvSpPr>
        <p:spPr>
          <a:xfrm>
            <a:off x="335362" y="6465584"/>
            <a:ext cx="2360991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Fremtiden er </a:t>
            </a:r>
            <a:r>
              <a:rPr lang="nb-NO" b="1"/>
              <a:t>elektrisk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8"/>
          </p:nvPr>
        </p:nvSpPr>
        <p:spPr>
          <a:xfrm>
            <a:off x="4673600" y="6465584"/>
            <a:ext cx="2844800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783E9800-7195-4929-9488-DC4ABF8DC9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3344" y="37541"/>
            <a:ext cx="1571328" cy="89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6663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5" y="557188"/>
            <a:ext cx="9025003" cy="49244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298421" y="6465584"/>
            <a:ext cx="1788683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>
          <a:xfrm>
            <a:off x="335362" y="6465584"/>
            <a:ext cx="2360991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Fremtiden er </a:t>
            </a:r>
            <a:r>
              <a:rPr lang="nb-NO" b="1"/>
              <a:t>elektrisk</a:t>
            </a:r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>
          <a:xfrm>
            <a:off x="4673600" y="6465584"/>
            <a:ext cx="2844800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1160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43B8009-8DE1-134B-9292-33A40E7F8E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77C16B-93AB-C641-AA02-C9FD70DD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04D861E-1BA0-434A-A98E-C813FD2169A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  <a:lvl6pPr marL="2286000" indent="0">
              <a:buNone/>
              <a:defRPr/>
            </a:lvl6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707E6A-3ED0-D946-95EF-53B6FC46228A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306947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013EA103-DA8E-0641-A612-7F78A6BE90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904E884-683A-7948-A651-CF1B96A06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059E5FB-5859-084A-AE97-65C4F9FAC5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3360049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535E11-AADE-344B-9F7F-EC31144E573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824595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836B170-B386-284F-940A-ACC58EEDD0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63C7BD3-2C4C-1C47-B8B7-94B179731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8FEB03C-080A-D249-ABC6-23F18278295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8FA059-385F-B440-B3AA-A625D503866A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446661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676AB1-A03F-E549-9E66-8783F68D31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43" b="-1243"/>
          <a:stretch/>
        </p:blipFill>
        <p:spPr>
          <a:xfrm>
            <a:off x="2467" y="241200"/>
            <a:ext cx="12187065" cy="67000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0B2EE3F-BF24-9146-B558-3E008FD27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AAFD04-F5F9-954E-9BBB-9602AB4BFB2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6BCEC-1FB0-DE41-A4CC-56F48891D2E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9881333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B5BEE59-5FF1-3C48-9D93-13F8B6684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-82939" y="241200"/>
            <a:ext cx="12357877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D61FDC1-274E-324F-B123-1241202DD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6A8CCC-1734-7D4D-BB5A-4270D8F2695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baseline="0" dirty="0">
                <a:solidFill>
                  <a:schemeClr val="bg1"/>
                </a:solidFill>
              </a:defRPr>
            </a:lvl1pPr>
            <a:lvl2pPr>
              <a:defRPr lang="en-GB" baseline="0" dirty="0">
                <a:solidFill>
                  <a:schemeClr val="bg1"/>
                </a:solidFill>
              </a:defRPr>
            </a:lvl2pPr>
            <a:lvl3pPr>
              <a:defRPr lang="en-GB" baseline="0" dirty="0">
                <a:solidFill>
                  <a:schemeClr val="bg1"/>
                </a:solidFill>
              </a:defRPr>
            </a:lvl3pPr>
            <a:lvl4pPr>
              <a:defRPr lang="en-GB" baseline="0" dirty="0">
                <a:solidFill>
                  <a:schemeClr val="bg1"/>
                </a:solidFill>
              </a:defRPr>
            </a:lvl4pPr>
            <a:lvl5pPr>
              <a:defRPr lang="en-NO" baseline="0" dirty="0">
                <a:solidFill>
                  <a:schemeClr val="bg1"/>
                </a:solidFill>
              </a:defRPr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326063-676A-E441-8EAE-655414FBC93B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46582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EE5F85-7A79-7D42-9E1D-11FB772217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5DEF36C-495A-254B-82FE-EE78B0481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5204" y="1528944"/>
            <a:ext cx="7527851" cy="37496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D89098-FC75-4947-B890-FF41A801D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28BAB3-870B-E04B-AE95-39F2909E9599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844100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7082" y="1011382"/>
            <a:ext cx="5595128" cy="466729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453BA66-5BB0-B94C-AE35-64389022F6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472749" y="2299855"/>
            <a:ext cx="3593461" cy="33788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583678-BA1A-8D43-809C-7366A44A3E1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564806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658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70" y="1313161"/>
            <a:ext cx="5166308" cy="436551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F295BF2-A3EE-3740-8880-D1ADF3C4C03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096000" y="-5608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994942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6251" y="564659"/>
            <a:ext cx="4915509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26251" y="1525276"/>
            <a:ext cx="4915509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9FBC817-820C-4C43-89B2-AC433B7247C0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218114"/>
            <a:ext cx="6096000" cy="6634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725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35E3C449-9851-2242-B2F4-1BC1D9BA8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8" b="-158"/>
          <a:stretch/>
        </p:blipFill>
        <p:spPr>
          <a:xfrm>
            <a:off x="0" y="241200"/>
            <a:ext cx="12192000" cy="6627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C23BAA-0437-1D4D-A909-643B1972EF7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2905082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y&#10;&#10;Description automatically generated">
            <a:extLst>
              <a:ext uri="{FF2B5EF4-FFF2-40B4-BE49-F238E27FC236}">
                <a16:creationId xmlns:a16="http://schemas.microsoft.com/office/drawing/2014/main" id="{162A045B-F69D-9A4B-90F7-AEF3FA8D5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2DEA06-370C-374A-82E2-E26CD9DDF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604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99910D-74D2-774B-9D47-975FF42E3A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56049" y="2262967"/>
            <a:ext cx="3932237" cy="4936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 i="0" baseline="0"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D71B840-B0EE-B743-904E-B6A2537C96E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021975" y="1035425"/>
            <a:ext cx="6118413" cy="4356846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1408F7-EEDE-904E-920D-49F70F89EBB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032933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42CA04-C4D2-0243-A73F-00EADD88A5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9103791-8074-D749-B965-88BB2E7F34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7"/>
            <a:ext cx="9554788" cy="3106270"/>
          </a:xfrm>
          <a:prstGeom prst="rect">
            <a:avLst/>
          </a:prstGeom>
        </p:spPr>
        <p:txBody>
          <a:bodyPr numCol="1" spcCol="360000">
            <a:normAutofit/>
          </a:bodyPr>
          <a:lstStyle>
            <a:lvl1pPr marL="342900" indent="-34290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2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73848C4-7B2F-B84C-A451-5EF502B5E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C9602D-4BD0-294C-B094-7565E1B8EF64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896615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ky&#10;&#10;Description automatically generated">
            <a:extLst>
              <a:ext uri="{FF2B5EF4-FFF2-40B4-BE49-F238E27FC236}">
                <a16:creationId xmlns:a16="http://schemas.microsoft.com/office/drawing/2014/main" id="{887586A0-AF3F-874E-A227-42D5A169C0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B336AEE-81A5-EB41-951E-0AE3F79FD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55690A-B445-B046-A265-C6153BCD0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63DA0B-3086-074A-9A6B-4B59E5148E86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898639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F413A9C-7B7A-A347-B90B-E77FFE9C0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65F9CCB-5CF3-EF46-BE72-091C2387FB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1A366F3-2869-2B44-8FFC-9D193C248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E730FF-266B-6C4D-B910-6C1DA2436F88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205184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E0943F21-6D9A-CD48-A8C0-FF63AB935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8D041B9-2A74-E343-AAF6-DD6B37E4D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0A3D38-3512-1F44-A959-1E2D7F7CE2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5619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D6307C-296C-2641-BE47-1B620D10662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879833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37DED6D-617E-4D44-A8A3-E0A970FB6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D84FF5-97E6-1C47-A877-5F19C34B660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2209D3C-D555-1B4D-B4E3-CDF4ACBF5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6B32CD-71C5-CA47-9F55-B56BFD23E8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6539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84147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ky, runway, aircraft&#10;&#10;Description automatically generated">
            <a:extLst>
              <a:ext uri="{FF2B5EF4-FFF2-40B4-BE49-F238E27FC236}">
                <a16:creationId xmlns:a16="http://schemas.microsoft.com/office/drawing/2014/main" id="{DC6337D2-9FF2-C14F-B0F3-AEFB78DBB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43" b="-1243"/>
          <a:stretch/>
        </p:blipFill>
        <p:spPr>
          <a:xfrm>
            <a:off x="0" y="241200"/>
            <a:ext cx="12192000" cy="67000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037DA8D-6C57-B046-A002-D9605737D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65A5D2B-831A-4E4A-AACF-DE934B7C7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4646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651717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899090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, rectangle&#10;&#10;Description automatically generated with medium confidence">
            <a:extLst>
              <a:ext uri="{FF2B5EF4-FFF2-40B4-BE49-F238E27FC236}">
                <a16:creationId xmlns:a16="http://schemas.microsoft.com/office/drawing/2014/main" id="{F31912A8-AA1B-774A-A218-890F1E2C42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24" b="-724"/>
          <a:stretch/>
        </p:blipFill>
        <p:spPr>
          <a:xfrm>
            <a:off x="0" y="241200"/>
            <a:ext cx="12192000" cy="66650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52BE63B-CB85-064B-995C-7E2FCD31D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1EFA50E-558E-9147-B00E-2691044D63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5"/>
            <a:ext cx="9554788" cy="410550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F6705-1721-2147-8126-239A0573CEA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9780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2" b="-222"/>
          <a:stretch/>
        </p:blipFill>
        <p:spPr>
          <a:xfrm>
            <a:off x="0" y="241200"/>
            <a:ext cx="12192000" cy="66314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6359E51-0195-4648-964C-CDB08EB25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CAB3598-D1B3-F445-9BFC-776BF9C2C6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57377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800" dirty="0"/>
            </a:lvl1pPr>
            <a:lvl2pPr>
              <a:defRPr sz="2400"/>
            </a:lvl2pPr>
            <a:lvl3pPr>
              <a:defRPr sz="2000"/>
            </a:lvl3pPr>
            <a:lvl4pPr>
              <a:defRPr/>
            </a:lvl4pPr>
            <a:lvl5pPr>
              <a:defRPr sz="1800"/>
            </a:lvl5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  <a:p>
            <a:pPr marL="0" lvl="1" indent="0">
              <a:buClr>
                <a:schemeClr val="accent2"/>
              </a:buClr>
              <a:buNone/>
            </a:pPr>
            <a:r>
              <a:rPr lang="nb-NO"/>
              <a:t>Andre nivå</a:t>
            </a:r>
          </a:p>
          <a:p>
            <a:pPr marL="0" lvl="2" indent="0">
              <a:buClr>
                <a:schemeClr val="accent2"/>
              </a:buClr>
              <a:buNone/>
            </a:pPr>
            <a:r>
              <a:rPr lang="nb-NO"/>
              <a:t>Tredje nivå</a:t>
            </a:r>
          </a:p>
          <a:p>
            <a:pPr marL="0" lvl="3" indent="0">
              <a:buClr>
                <a:schemeClr val="accent2"/>
              </a:buClr>
              <a:buNone/>
            </a:pPr>
            <a:r>
              <a:rPr lang="nb-NO"/>
              <a:t>Fjerde nivå</a:t>
            </a:r>
          </a:p>
          <a:p>
            <a:pPr marL="0" lvl="4" indent="0">
              <a:buClr>
                <a:schemeClr val="accent2"/>
              </a:buClr>
              <a:buNone/>
            </a:pPr>
            <a:r>
              <a:rPr lang="nb-NO"/>
              <a:t>Femte nivå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915D3F-854A-564B-A241-A1C0E722D025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225758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1D1BD7-B32B-7444-8D5F-56F1BF1001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39282"/>
            <a:ext cx="12192000" cy="66187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4ABBD9-3BB7-0049-AD27-1AD121F371E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102BED2-E683-344E-8C8C-9E5E2544E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842EA83-017F-914C-99AC-AC65021C9D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73346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E46E87B-3107-B447-BAD1-BBE333BC3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298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8713FBB8-EC19-5D40-8E51-F310DB770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16548-72D6-DB47-9C9B-681A6AD49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404326"/>
            <a:ext cx="10515600" cy="1420743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FF6ED3-4DE2-9246-8B85-6160400B52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926359"/>
            <a:ext cx="10515600" cy="426527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 marL="0" indent="0">
              <a:buNone/>
              <a:defRPr sz="24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71E653-17F8-1A40-949A-2631A34930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6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35E3C449-9851-2242-B2F4-1BC1D9BA8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8" b="-158"/>
          <a:stretch/>
        </p:blipFill>
        <p:spPr>
          <a:xfrm>
            <a:off x="0" y="241200"/>
            <a:ext cx="12192000" cy="6627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C23BAA-0437-1D4D-A909-643B1972EF7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587684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1D1BD7-B32B-7444-8D5F-56F1BF1001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239282"/>
            <a:ext cx="12192000" cy="66187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4ABBD9-3BB7-0049-AD27-1AD121F371E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102BED2-E683-344E-8C8C-9E5E2544E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842EA83-017F-914C-99AC-AC65021C9D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9442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2A13A457-4288-D04C-9559-F4B90A3AB8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8" b="-998"/>
          <a:stretch/>
        </p:blipFill>
        <p:spPr>
          <a:xfrm>
            <a:off x="-88121" y="241200"/>
            <a:ext cx="12308114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3736609-E268-A646-B99C-FC382A8791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B9D3683-D84D-CF4A-89DD-228466A30F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E0461-0BCC-AA48-A9A4-4C3DD4998EF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521799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ellomtit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709225C0-5666-E845-A440-4603610CB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BF027B2-FB8F-704E-8874-E8544CD6691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855552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oy, vector graphics&#10;&#10;Description automatically generated">
            <a:extLst>
              <a:ext uri="{FF2B5EF4-FFF2-40B4-BE49-F238E27FC236}">
                <a16:creationId xmlns:a16="http://schemas.microsoft.com/office/drawing/2014/main" id="{A456AC6D-06A4-8A4F-974C-59B737D553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8" b="-158"/>
          <a:stretch/>
        </p:blipFill>
        <p:spPr>
          <a:xfrm>
            <a:off x="0" y="241200"/>
            <a:ext cx="12192000" cy="66272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86A5477-AD19-434D-B93E-0E51448D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EDF1A89-6C33-A34A-B572-1752B173D3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2E945B-0771-D44D-AA25-DF2CD467B661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973240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day&#10;&#10;Description automatically generated">
            <a:extLst>
              <a:ext uri="{FF2B5EF4-FFF2-40B4-BE49-F238E27FC236}">
                <a16:creationId xmlns:a16="http://schemas.microsoft.com/office/drawing/2014/main" id="{C002FF99-B639-F44A-A3F0-E659D8567B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7590" y="1542799"/>
            <a:ext cx="5066210" cy="3800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E4079DE-7C64-2547-9F0F-208AF1224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934" y="651062"/>
            <a:ext cx="10552865" cy="864027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6FE0E8-EF29-4642-B2B9-18C8AE402C0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795277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49" b="-849"/>
          <a:stretch/>
        </p:blipFill>
        <p:spPr>
          <a:xfrm>
            <a:off x="0" y="241200"/>
            <a:ext cx="12192000" cy="66734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DB81B4-87B6-DD4D-8105-EC1F34BB5DB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4"/>
            <a:ext cx="9554787" cy="3800112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2D70EC-5387-8442-933D-DBF91E334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DF2EE9-E234-A84B-8D31-A1A2C6809D48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029786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49" b="-849"/>
          <a:stretch/>
        </p:blipFill>
        <p:spPr>
          <a:xfrm>
            <a:off x="0" y="241200"/>
            <a:ext cx="12192000" cy="66734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5F13E7-33C4-2840-A790-5BB496A58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3355" y="1290918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7CA842-A5A3-1D48-AD62-18497401C2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000007" y="987425"/>
            <a:ext cx="3435556" cy="416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CDEF2-61F1-A448-ABB3-828B0C7FA9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813355" y="2891118"/>
            <a:ext cx="4809565" cy="1707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F93E00E-1F7B-3447-804A-8D0AAD466991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294575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2A13A457-4288-D04C-9559-F4B90A3AB8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8" b="-998"/>
          <a:stretch/>
        </p:blipFill>
        <p:spPr>
          <a:xfrm>
            <a:off x="-88121" y="241200"/>
            <a:ext cx="12308114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3736609-E268-A646-B99C-FC382A8791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B9D3683-D84D-CF4A-89DD-228466A30F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E0461-0BCC-AA48-A9A4-4C3DD4998EF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563390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24" b="-724"/>
          <a:stretch/>
        </p:blipFill>
        <p:spPr>
          <a:xfrm>
            <a:off x="0" y="241200"/>
            <a:ext cx="12192000" cy="66650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F8B81C-364C-B64C-985A-41AD14939BE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2FF7AF-FB6D-9C4E-88F4-ACE92FAB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" panose="020F05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FDF389-151F-D74D-B16A-897CA1511833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8606526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43B8009-8DE1-134B-9292-33A40E7F8E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77C16B-93AB-C641-AA02-C9FD70DD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04D861E-1BA0-434A-A98E-C813FD2169A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  <a:lvl6pPr marL="2286000" indent="0">
              <a:buNone/>
              <a:defRPr/>
            </a:lvl6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707E6A-3ED0-D946-95EF-53B6FC46228A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571640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013EA103-DA8E-0641-A612-7F78A6BE90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904E884-683A-7948-A651-CF1B96A06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059E5FB-5859-084A-AE97-65C4F9FAC5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3360049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535E11-AADE-344B-9F7F-EC31144E573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969680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836B170-B386-284F-940A-ACC58EEDD0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63C7BD3-2C4C-1C47-B8B7-94B179731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8FEB03C-080A-D249-ABC6-23F18278295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8FA059-385F-B440-B3AA-A625D503866A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729974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676AB1-A03F-E549-9E66-8783F68D31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43" b="-1243"/>
          <a:stretch/>
        </p:blipFill>
        <p:spPr>
          <a:xfrm>
            <a:off x="2467" y="241200"/>
            <a:ext cx="12187065" cy="67000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0B2EE3F-BF24-9146-B558-3E008FD27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AAFD04-F5F9-954E-9BBB-9602AB4BFB2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6BCEC-1FB0-DE41-A4CC-56F48891D2E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475684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B5BEE59-5FF1-3C48-9D93-13F8B6684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-82939" y="241200"/>
            <a:ext cx="12357877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D61FDC1-274E-324F-B123-1241202DD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6A8CCC-1734-7D4D-BB5A-4270D8F2695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baseline="0" dirty="0">
                <a:solidFill>
                  <a:schemeClr val="bg1"/>
                </a:solidFill>
              </a:defRPr>
            </a:lvl1pPr>
            <a:lvl2pPr>
              <a:defRPr lang="en-GB" baseline="0" dirty="0">
                <a:solidFill>
                  <a:schemeClr val="bg1"/>
                </a:solidFill>
              </a:defRPr>
            </a:lvl2pPr>
            <a:lvl3pPr>
              <a:defRPr lang="en-GB" baseline="0" dirty="0">
                <a:solidFill>
                  <a:schemeClr val="bg1"/>
                </a:solidFill>
              </a:defRPr>
            </a:lvl3pPr>
            <a:lvl4pPr>
              <a:defRPr lang="en-GB" baseline="0" dirty="0">
                <a:solidFill>
                  <a:schemeClr val="bg1"/>
                </a:solidFill>
              </a:defRPr>
            </a:lvl4pPr>
            <a:lvl5pPr>
              <a:defRPr lang="en-NO" baseline="0" dirty="0">
                <a:solidFill>
                  <a:schemeClr val="bg1"/>
                </a:solidFill>
              </a:defRPr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326063-676A-E441-8EAE-655414FBC93B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628972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EE5F85-7A79-7D42-9E1D-11FB772217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5DEF36C-495A-254B-82FE-EE78B0481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5204" y="1528944"/>
            <a:ext cx="7527851" cy="37496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D89098-FC75-4947-B890-FF41A801D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28BAB3-870B-E04B-AE95-39F2909E9599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14189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7082" y="1011382"/>
            <a:ext cx="5595128" cy="466729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453BA66-5BB0-B94C-AE35-64389022F6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472749" y="2299855"/>
            <a:ext cx="3593461" cy="33788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583678-BA1A-8D43-809C-7366A44A3E1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211460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658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70" y="1313161"/>
            <a:ext cx="5166308" cy="436551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F295BF2-A3EE-3740-8880-D1ADF3C4C03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096000" y="-5608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065228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6251" y="564659"/>
            <a:ext cx="4915509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26251" y="1525276"/>
            <a:ext cx="4915509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9FBC817-820C-4C43-89B2-AC433B7247C0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218114"/>
            <a:ext cx="6096000" cy="6634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023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ellomtit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709225C0-5666-E845-A440-4603610CB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BF027B2-FB8F-704E-8874-E8544CD6691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311536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y&#10;&#10;Description automatically generated">
            <a:extLst>
              <a:ext uri="{FF2B5EF4-FFF2-40B4-BE49-F238E27FC236}">
                <a16:creationId xmlns:a16="http://schemas.microsoft.com/office/drawing/2014/main" id="{162A045B-F69D-9A4B-90F7-AEF3FA8D5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2DEA06-370C-374A-82E2-E26CD9DDF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604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99910D-74D2-774B-9D47-975FF42E3A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56049" y="2262967"/>
            <a:ext cx="3932237" cy="4936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 i="0" baseline="0"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D71B840-B0EE-B743-904E-B6A2537C96E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021975" y="1035425"/>
            <a:ext cx="6118413" cy="4356846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1408F7-EEDE-904E-920D-49F70F89EBB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7886866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42CA04-C4D2-0243-A73F-00EADD88A5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9103791-8074-D749-B965-88BB2E7F34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7"/>
            <a:ext cx="9554788" cy="3106270"/>
          </a:xfrm>
          <a:prstGeom prst="rect">
            <a:avLst/>
          </a:prstGeom>
        </p:spPr>
        <p:txBody>
          <a:bodyPr numCol="1" spcCol="360000">
            <a:normAutofit/>
          </a:bodyPr>
          <a:lstStyle>
            <a:lvl1pPr marL="342900" indent="-34290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2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73848C4-7B2F-B84C-A451-5EF502B5E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C9602D-4BD0-294C-B094-7565E1B8EF64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933645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ky&#10;&#10;Description automatically generated">
            <a:extLst>
              <a:ext uri="{FF2B5EF4-FFF2-40B4-BE49-F238E27FC236}">
                <a16:creationId xmlns:a16="http://schemas.microsoft.com/office/drawing/2014/main" id="{887586A0-AF3F-874E-A227-42D5A169C0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B336AEE-81A5-EB41-951E-0AE3F79FD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55690A-B445-B046-A265-C6153BCD0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63DA0B-3086-074A-9A6B-4B59E5148E86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0806573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F413A9C-7B7A-A347-B90B-E77FFE9C0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97" b="-997"/>
          <a:stretch/>
        </p:blipFill>
        <p:spPr>
          <a:xfrm>
            <a:off x="0" y="241200"/>
            <a:ext cx="12192000" cy="66834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65F9CCB-5CF3-EF46-BE72-091C2387FB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1A366F3-2869-2B44-8FFC-9D193C248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E730FF-266B-6C4D-B910-6C1DA2436F88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274425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E0943F21-6D9A-CD48-A8C0-FF63AB9357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8D041B9-2A74-E343-AAF6-DD6B37E4D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0A3D38-3512-1F44-A959-1E2D7F7CE2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5619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D6307C-296C-2641-BE47-1B620D10662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2277531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37DED6D-617E-4D44-A8A3-E0A970FB6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65" b="-1365"/>
          <a:stretch/>
        </p:blipFill>
        <p:spPr>
          <a:xfrm>
            <a:off x="0" y="241200"/>
            <a:ext cx="12192000" cy="67083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D84FF5-97E6-1C47-A877-5F19C34B6600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2209D3C-D555-1B4D-B4E3-CDF4ACBF5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6B32CD-71C5-CA47-9F55-B56BFD23E8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6539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56858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ky, runway, aircraft&#10;&#10;Description automatically generated">
            <a:extLst>
              <a:ext uri="{FF2B5EF4-FFF2-40B4-BE49-F238E27FC236}">
                <a16:creationId xmlns:a16="http://schemas.microsoft.com/office/drawing/2014/main" id="{DC6337D2-9FF2-C14F-B0F3-AEFB78DBB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43" b="-1243"/>
          <a:stretch/>
        </p:blipFill>
        <p:spPr>
          <a:xfrm>
            <a:off x="0" y="241200"/>
            <a:ext cx="12192000" cy="670005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037DA8D-6C57-B046-A002-D9605737D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65A5D2B-831A-4E4A-AACF-DE934B7C7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4646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00347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20" b="-1120"/>
          <a:stretch/>
        </p:blipFill>
        <p:spPr>
          <a:xfrm>
            <a:off x="0" y="241200"/>
            <a:ext cx="12192000" cy="669174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841212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, rectangle&#10;&#10;Description automatically generated with medium confidence">
            <a:extLst>
              <a:ext uri="{FF2B5EF4-FFF2-40B4-BE49-F238E27FC236}">
                <a16:creationId xmlns:a16="http://schemas.microsoft.com/office/drawing/2014/main" id="{F31912A8-AA1B-774A-A218-890F1E2C42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24" b="-724"/>
          <a:stretch/>
        </p:blipFill>
        <p:spPr>
          <a:xfrm>
            <a:off x="0" y="241200"/>
            <a:ext cx="12192000" cy="666505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52BE63B-CB85-064B-995C-7E2FCD31D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1EFA50E-558E-9147-B00E-2691044D63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5"/>
            <a:ext cx="9554788" cy="410550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F6705-1721-2147-8126-239A0573CEA2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817271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2" b="-222"/>
          <a:stretch/>
        </p:blipFill>
        <p:spPr>
          <a:xfrm>
            <a:off x="0" y="241200"/>
            <a:ext cx="12192000" cy="663149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6359E51-0195-4648-964C-CDB08EB25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CAB3598-D1B3-F445-9BFC-776BF9C2C6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57377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800" dirty="0"/>
            </a:lvl1pPr>
            <a:lvl2pPr>
              <a:defRPr sz="2400"/>
            </a:lvl2pPr>
            <a:lvl3pPr>
              <a:defRPr sz="2000"/>
            </a:lvl3pPr>
            <a:lvl4pPr>
              <a:defRPr/>
            </a:lvl4pPr>
            <a:lvl5pPr>
              <a:defRPr sz="1800"/>
            </a:lvl5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  <a:p>
            <a:pPr marL="0" lvl="1" indent="0">
              <a:buClr>
                <a:schemeClr val="accent2"/>
              </a:buClr>
              <a:buNone/>
            </a:pPr>
            <a:r>
              <a:rPr lang="nb-NO"/>
              <a:t>Andre nivå</a:t>
            </a:r>
          </a:p>
          <a:p>
            <a:pPr marL="0" lvl="2" indent="0">
              <a:buClr>
                <a:schemeClr val="accent2"/>
              </a:buClr>
              <a:buNone/>
            </a:pPr>
            <a:r>
              <a:rPr lang="nb-NO"/>
              <a:t>Tredje nivå</a:t>
            </a:r>
          </a:p>
          <a:p>
            <a:pPr marL="0" lvl="3" indent="0">
              <a:buClr>
                <a:schemeClr val="accent2"/>
              </a:buClr>
              <a:buNone/>
            </a:pPr>
            <a:r>
              <a:rPr lang="nb-NO"/>
              <a:t>Fjerde nivå</a:t>
            </a:r>
          </a:p>
          <a:p>
            <a:pPr marL="0" lvl="4" indent="0">
              <a:buClr>
                <a:schemeClr val="accent2"/>
              </a:buClr>
              <a:buNone/>
            </a:pPr>
            <a:r>
              <a:rPr lang="nb-NO"/>
              <a:t>Femte nivå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915D3F-854A-564B-A241-A1C0E722D025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9264150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oy, vector graphics&#10;&#10;Description automatically generated">
            <a:extLst>
              <a:ext uri="{FF2B5EF4-FFF2-40B4-BE49-F238E27FC236}">
                <a16:creationId xmlns:a16="http://schemas.microsoft.com/office/drawing/2014/main" id="{A456AC6D-06A4-8A4F-974C-59B737D553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58" b="-158"/>
          <a:stretch/>
        </p:blipFill>
        <p:spPr>
          <a:xfrm>
            <a:off x="0" y="241200"/>
            <a:ext cx="12192000" cy="66272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86A5477-AD19-434D-B93E-0E51448D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EDF1A89-6C33-A34A-B572-1752B173D3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2E945B-0771-D44D-AA25-DF2CD467B661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914240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E46E87B-3107-B447-BAD1-BBE333BC32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0159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8713FBB8-EC19-5D40-8E51-F310DB7706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16548-72D6-DB47-9C9B-681A6AD49C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404326"/>
            <a:ext cx="10515600" cy="1420743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FF6ED3-4DE2-9246-8B85-6160400B52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926359"/>
            <a:ext cx="10515600" cy="426527"/>
          </a:xfrm>
          <a:prstGeom prst="rect">
            <a:avLst/>
          </a:prstGeom>
        </p:spPr>
        <p:txBody>
          <a:bodyPr anchor="t" anchorCtr="1">
            <a:spAutoFit/>
          </a:bodyPr>
          <a:lstStyle>
            <a:lvl1pPr marL="0" indent="0">
              <a:buNone/>
              <a:defRPr sz="24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71E653-17F8-1A40-949A-2631A34930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2580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35E3C449-9851-2242-B2F4-1BC1D9BA84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6C23BAA-0437-1D4D-A909-643B1972EF7C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739182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1D1BD7-B32B-7444-8D5F-56F1BF10017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14ABBD9-3BB7-0049-AD27-1AD121F371E2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102BED2-E683-344E-8C8C-9E5E2544E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accent2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842EA83-017F-914C-99AC-AC65021C9D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99353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2A13A457-4288-D04C-9559-F4B90A3AB8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8121" y="-65314"/>
            <a:ext cx="12308114" cy="69233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3736609-E268-A646-B99C-FC382A8791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510110"/>
            <a:ext cx="4887589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CB9D3683-D84D-CF4A-89DD-228466A30F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3989785"/>
            <a:ext cx="4887589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5E0461-0BCC-AA48-A9A4-4C3DD4998EFD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398998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ellomtit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709225C0-5666-E845-A440-4603610CBF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0FAD62-02AE-044E-BF2D-5F9B3F2A5A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A682D1-7906-D84E-A957-6D382AC6A7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BF027B2-FB8F-704E-8874-E8544CD66912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046498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oy, vector graphics&#10;&#10;Description automatically generated">
            <a:extLst>
              <a:ext uri="{FF2B5EF4-FFF2-40B4-BE49-F238E27FC236}">
                <a16:creationId xmlns:a16="http://schemas.microsoft.com/office/drawing/2014/main" id="{A456AC6D-06A4-8A4F-974C-59B737D553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2A608-14AE-8542-BDC6-EB69BCF155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86A5477-AD19-434D-B93E-0E51448DC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2751" y="1510110"/>
            <a:ext cx="4390168" cy="2387600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algn="l">
              <a:defRPr sz="55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EDF1A89-6C33-A34A-B572-1752B173D3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2751" y="3989785"/>
            <a:ext cx="4390168" cy="1655762"/>
          </a:xfrm>
          <a:prstGeom prst="rect">
            <a:avLst/>
          </a:prstGeom>
        </p:spPr>
        <p:txBody>
          <a:bodyPr vert="horz" anchor="t" anchorCtr="0">
            <a:normAutofit/>
          </a:bodyPr>
          <a:lstStyle>
            <a:lvl1pPr marL="0" indent="0" algn="l">
              <a:buNone/>
              <a:defRPr sz="2200" b="0" i="0" baseline="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2E945B-0771-D44D-AA25-DF2CD467B661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940778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day&#10;&#10;Description automatically generated">
            <a:extLst>
              <a:ext uri="{FF2B5EF4-FFF2-40B4-BE49-F238E27FC236}">
                <a16:creationId xmlns:a16="http://schemas.microsoft.com/office/drawing/2014/main" id="{C002FF99-B639-F44A-A3F0-E659D8567B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7590" y="1542799"/>
            <a:ext cx="5066210" cy="3800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E4079DE-7C64-2547-9F0F-208AF1224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934" y="651062"/>
            <a:ext cx="10552865" cy="864027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6FE0E8-EF29-4642-B2B9-18C8AE402C0C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02063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DB81B4-87B6-DD4D-8105-EC1F34BB5DB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4"/>
            <a:ext cx="9554787" cy="3800112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2D70EC-5387-8442-933D-DBF91E334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DF2EE9-E234-A84B-8D31-A1A2C6809D48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275909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5F13E7-33C4-2840-A790-5BB496A58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3355" y="1290918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7CA842-A5A3-1D48-AD62-18497401C2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000007" y="987425"/>
            <a:ext cx="3435556" cy="416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CDEF2-61F1-A448-ABB3-828B0C7FA9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813355" y="2891118"/>
            <a:ext cx="4809565" cy="1707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F93E00E-1F7B-3447-804A-8D0AAD466991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423165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day&#10;&#10;Description automatically generated">
            <a:extLst>
              <a:ext uri="{FF2B5EF4-FFF2-40B4-BE49-F238E27FC236}">
                <a16:creationId xmlns:a16="http://schemas.microsoft.com/office/drawing/2014/main" id="{C002FF99-B639-F44A-A3F0-E659D8567B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750" b="-750"/>
          <a:stretch/>
        </p:blipFill>
        <p:spPr>
          <a:xfrm>
            <a:off x="0" y="241200"/>
            <a:ext cx="12192000" cy="6666807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7590" y="1542799"/>
            <a:ext cx="5066210" cy="38001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BE4079DE-7C64-2547-9F0F-208AF1224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934" y="651062"/>
            <a:ext cx="10552865" cy="864027"/>
          </a:xfrm>
          <a:prstGeom prst="rect">
            <a:avLst/>
          </a:prstGeom>
        </p:spPr>
        <p:txBody>
          <a:bodyPr anchor="b">
            <a:noAutofit/>
          </a:bodyPr>
          <a:lstStyle>
            <a:lvl1pPr algn="r"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6FE0E8-EF29-4642-B2B9-18C8AE402C0C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609817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F8B81C-364C-B64C-985A-41AD14939BE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E2FF7AF-FB6D-9C4E-88F4-ACE92FABA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" panose="020F05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FDF389-151F-D74D-B16A-897CA1511833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468926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43B8009-8DE1-134B-9292-33A40E7F8E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977C16B-93AB-C641-AA02-C9FD70DD5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04D861E-1BA0-434A-A98E-C813FD2169A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707E6A-3ED0-D946-95EF-53B6FC46228A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7577206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013EA103-DA8E-0641-A612-7F78A6BE90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904E884-683A-7948-A651-CF1B96A06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059E5FB-5859-084A-AE97-65C4F9FAC53F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3360049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535E11-AADE-344B-9F7F-EC31144E5730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5465032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C836B170-B386-284F-940A-ACC58EEDD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63C7BD3-2C4C-1C47-B8B7-94B179731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8FEB03C-080A-D249-ABC6-23F18278295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8FA059-385F-B440-B3AA-A625D503866A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116607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676AB1-A03F-E549-9E66-8783F68D312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467" y="0"/>
            <a:ext cx="12187065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0B2EE3F-BF24-9146-B558-3E008FD27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AAFD04-F5F9-954E-9BBB-9602AB4BFB2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dirty="0"/>
            </a:lvl1pPr>
            <a:lvl2pPr>
              <a:defRPr lang="en-GB" dirty="0"/>
            </a:lvl2pPr>
            <a:lvl3pPr>
              <a:defRPr lang="en-GB" dirty="0"/>
            </a:lvl3pPr>
            <a:lvl4pPr>
              <a:defRPr lang="en-GB" dirty="0"/>
            </a:lvl4pPr>
            <a:lvl5pPr>
              <a:defRPr lang="en-NO" dirty="0"/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96BCEC-1FB0-DE41-A4CC-56F48891D2EC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9040526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4B5BEE59-5FF1-3C48-9D93-13F8B6684B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2939" y="-93306"/>
            <a:ext cx="12357877" cy="695130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1D61FDC1-274E-324F-B123-1241202DD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6A8CCC-1734-7D4D-BB5A-4270D8F2695E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3"/>
            <a:ext cx="9554787" cy="404058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baseline="0" dirty="0">
                <a:solidFill>
                  <a:schemeClr val="bg1"/>
                </a:solidFill>
              </a:defRPr>
            </a:lvl1pPr>
            <a:lvl2pPr>
              <a:defRPr lang="en-GB" baseline="0" dirty="0">
                <a:solidFill>
                  <a:schemeClr val="bg1"/>
                </a:solidFill>
              </a:defRPr>
            </a:lvl2pPr>
            <a:lvl3pPr>
              <a:defRPr lang="en-GB" baseline="0" dirty="0">
                <a:solidFill>
                  <a:schemeClr val="bg1"/>
                </a:solidFill>
              </a:defRPr>
            </a:lvl3pPr>
            <a:lvl4pPr>
              <a:defRPr lang="en-GB" baseline="0" dirty="0">
                <a:solidFill>
                  <a:schemeClr val="bg1"/>
                </a:solidFill>
              </a:defRPr>
            </a:lvl4pPr>
            <a:lvl5pPr>
              <a:defRPr lang="en-NO" baseline="0" dirty="0">
                <a:solidFill>
                  <a:schemeClr val="bg1"/>
                </a:solidFill>
              </a:defRPr>
            </a:lvl5pPr>
          </a:lstStyle>
          <a:p>
            <a:pPr lvl="0">
              <a:buClr>
                <a:schemeClr val="accent2"/>
              </a:buClr>
            </a:pPr>
            <a:r>
              <a:rPr lang="nb-NO"/>
              <a:t>Klikk for å redigere tekststiler i malen</a:t>
            </a:r>
          </a:p>
          <a:p>
            <a:pPr lvl="1">
              <a:buClr>
                <a:schemeClr val="accent2"/>
              </a:buClr>
            </a:pPr>
            <a:r>
              <a:rPr lang="nb-NO"/>
              <a:t>Andre nivå</a:t>
            </a:r>
          </a:p>
          <a:p>
            <a:pPr lvl="2">
              <a:buClr>
                <a:schemeClr val="accent2"/>
              </a:buClr>
            </a:pPr>
            <a:r>
              <a:rPr lang="nb-NO"/>
              <a:t>Tredje nivå</a:t>
            </a:r>
          </a:p>
          <a:p>
            <a:pPr lvl="3">
              <a:buClr>
                <a:schemeClr val="accent2"/>
              </a:buClr>
            </a:pPr>
            <a:r>
              <a:rPr lang="nb-NO"/>
              <a:t>Fjerde nivå</a:t>
            </a:r>
          </a:p>
          <a:p>
            <a:pPr lvl="4">
              <a:buClr>
                <a:schemeClr val="accent2"/>
              </a:buClr>
            </a:pPr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326063-676A-E441-8EAE-655414FBC93B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189036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EE5F85-7A79-7D42-9E1D-11FB772217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5DEF36C-495A-254B-82FE-EE78B04817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5204" y="1528944"/>
            <a:ext cx="7527851" cy="37496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6D89098-FC75-4947-B890-FF41A801D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28BAB3-870B-E04B-AE95-39F2909E9599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93544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7082" y="1011382"/>
            <a:ext cx="5595128" cy="4667297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453BA66-5BB0-B94C-AE35-64389022F67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472749" y="2299855"/>
            <a:ext cx="3593461" cy="33788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583678-BA1A-8D43-809C-7366A44A3E10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22743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5A0815-D0F2-9244-884B-23674FE84CC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785"/>
            <a:ext cx="12192000" cy="685442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E6356D-4491-9C4A-BD68-540866B3B2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70" y="1313161"/>
            <a:ext cx="5166308" cy="436551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solidFill>
                  <a:schemeClr val="bg1"/>
                </a:solidFill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F295BF2-A3EE-3740-8880-D1ADF3C4C03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096000" y="-5608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51671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6251" y="564659"/>
            <a:ext cx="4915509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26251" y="1525276"/>
            <a:ext cx="4915509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49FBC817-820C-4C43-89B2-AC433B7247C0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-5608"/>
            <a:ext cx="6096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160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49" b="-849"/>
          <a:stretch/>
        </p:blipFill>
        <p:spPr>
          <a:xfrm>
            <a:off x="0" y="241200"/>
            <a:ext cx="12192000" cy="667344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DB81B4-87B6-DD4D-8105-EC1F34BB5DB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318607" y="1528944"/>
            <a:ext cx="9554787" cy="3800112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2D70EC-5387-8442-933D-DBF91E3345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DF2EE9-E234-A84B-8D31-A1A2C6809D48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267510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sky&#10;&#10;Description automatically generated">
            <a:extLst>
              <a:ext uri="{FF2B5EF4-FFF2-40B4-BE49-F238E27FC236}">
                <a16:creationId xmlns:a16="http://schemas.microsoft.com/office/drawing/2014/main" id="{162A045B-F69D-9A4B-90F7-AEF3FA8D5F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62DEA06-370C-374A-82E2-E26CD9DDF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6049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99910D-74D2-774B-9D47-975FF42E3A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456049" y="2262967"/>
            <a:ext cx="3932237" cy="4936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 i="0" baseline="0"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D71B840-B0EE-B743-904E-B6A2537C96E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021975" y="1035425"/>
            <a:ext cx="6118413" cy="4356846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1pPr>
            <a:lvl2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2pPr>
            <a:lvl3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3pPr>
            <a:lvl4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4pPr>
            <a:lvl5pPr>
              <a:buClr>
                <a:schemeClr val="accent2"/>
              </a:buClr>
              <a:defRPr baseline="0">
                <a:latin typeface="Calibri Light" panose="020F030202020403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1408F7-EEDE-904E-920D-49F70F89EBB2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48269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42CA04-C4D2-0243-A73F-00EADD88A57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9103791-8074-D749-B965-88BB2E7F34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7"/>
            <a:ext cx="9554788" cy="3106270"/>
          </a:xfrm>
          <a:prstGeom prst="rect">
            <a:avLst/>
          </a:prstGeom>
        </p:spPr>
        <p:txBody>
          <a:bodyPr numCol="1" spcCol="360000">
            <a:normAutofit/>
          </a:bodyPr>
          <a:lstStyle>
            <a:lvl1pPr marL="342900" indent="-342900">
              <a:lnSpc>
                <a:spcPct val="100000"/>
              </a:lnSpc>
              <a:buClr>
                <a:schemeClr val="accent2"/>
              </a:buClr>
              <a:buFont typeface="Arial" panose="020B0604020202020204" pitchFamily="34" charset="0"/>
              <a:buChar char="•"/>
              <a:defRPr sz="2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73848C4-7B2F-B84C-A451-5EF502B5E9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CC9602D-4BD0-294C-B094-7565E1B8EF64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505805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ky&#10;&#10;Description automatically generated">
            <a:extLst>
              <a:ext uri="{FF2B5EF4-FFF2-40B4-BE49-F238E27FC236}">
                <a16:creationId xmlns:a16="http://schemas.microsoft.com/office/drawing/2014/main" id="{887586A0-AF3F-874E-A227-42D5A169C0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B336AEE-81A5-EB41-951E-0AE3F79FD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55690A-B445-B046-A265-C6153BCD0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D63DA0B-3086-074A-9A6B-4B59E5148E86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927910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F413A9C-7B7A-A347-B90B-E77FFE9C04A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65F9CCB-5CF3-EF46-BE72-091C2387FB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353741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1A366F3-2869-2B44-8FFC-9D193C2486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E730FF-266B-6C4D-B910-6C1DA2436F88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53525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E0943F21-6D9A-CD48-A8C0-FF63AB9357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C8D041B9-2A74-E343-AAF6-DD6B37E4DC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0A3D38-3512-1F44-A959-1E2D7F7CE2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5619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D6307C-296C-2641-BE47-1B620D10662D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286999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37DED6D-617E-4D44-A8A3-E0A970FB62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FD84FF5-97E6-1C47-A877-5F19C34B6600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2209D3C-D555-1B4D-B4E3-CDF4ACBF5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6B32CD-71C5-CA47-9F55-B56BFD23E8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6539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6193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ky, runway, aircraft&#10;&#10;Description automatically generated">
            <a:extLst>
              <a:ext uri="{FF2B5EF4-FFF2-40B4-BE49-F238E27FC236}">
                <a16:creationId xmlns:a16="http://schemas.microsoft.com/office/drawing/2014/main" id="{DC6337D2-9FF2-C14F-B0F3-AEFB78DBBB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037DA8D-6C57-B046-A002-D9605737D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65A5D2B-831A-4E4A-AACF-DE934B7C7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46468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61828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B23D5479-D511-C849-A38B-78CF5A006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CFA9F8-8D9E-764D-9F00-4A5F524BF0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129566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3949580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, rectangle&#10;&#10;Description automatically generated with medium confidence">
            <a:extLst>
              <a:ext uri="{FF2B5EF4-FFF2-40B4-BE49-F238E27FC236}">
                <a16:creationId xmlns:a16="http://schemas.microsoft.com/office/drawing/2014/main" id="{F31912A8-AA1B-774A-A218-890F1E2C42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52BE63B-CB85-064B-995C-7E2FCD31D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1EFA50E-558E-9147-B00E-2691044D63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5"/>
            <a:ext cx="9554788" cy="4105503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F6705-1721-2147-8126-239A0573CEA2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156110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1E986C76-E5E5-AA40-9803-F922F30D41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6359E51-0195-4648-964C-CDB08EB25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950430"/>
          </a:xfrm>
          <a:prstGeom prst="rect">
            <a:avLst/>
          </a:prstGeom>
        </p:spPr>
        <p:txBody>
          <a:bodyPr anchor="b"/>
          <a:lstStyle>
            <a:lvl1pPr>
              <a:defRPr sz="3200" baseline="0">
                <a:latin typeface="Calibri Light" panose="020F0302020204030204" pitchFamily="34" charset="0"/>
              </a:defRPr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CAB3598-D1B3-F445-9BFC-776BF9C2C6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9554788" cy="4057377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/>
          </a:bodyPr>
          <a:lstStyle>
            <a:lvl1pPr>
              <a:defRPr lang="en-GB" sz="2200" dirty="0"/>
            </a:lvl1pPr>
          </a:lstStyle>
          <a:p>
            <a:pPr marL="0" lvl="0" indent="0">
              <a:buClr>
                <a:schemeClr val="accent2"/>
              </a:buClr>
              <a:buNone/>
            </a:pPr>
            <a:r>
              <a:rPr lang="nb-NO"/>
              <a:t>Klikk for å redigere tekststiler i mal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915D3F-854A-564B-A241-A1C0E722D025}"/>
              </a:ext>
            </a:extLst>
          </p:cNvPr>
          <p:cNvSpPr txBox="1"/>
          <p:nvPr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2757260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34A417-8A53-FD4E-88E4-E2B997683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849" b="-849"/>
          <a:stretch/>
        </p:blipFill>
        <p:spPr>
          <a:xfrm>
            <a:off x="0" y="241200"/>
            <a:ext cx="12192000" cy="66734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A5F13E7-33C4-2840-A790-5BB496A58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3355" y="1290918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7CA842-A5A3-1D48-AD62-18497401C2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000007" y="987425"/>
            <a:ext cx="3435556" cy="41627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BCDEF2-61F1-A448-ABB3-828B0C7FA9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813355" y="2891118"/>
            <a:ext cx="4809565" cy="17077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>
                <a:latin typeface="Calibri" panose="020F05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DF86D5-6ABC-074D-A52B-E7961D64624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F93E00E-1F7B-3447-804A-8D0AAD466991}"/>
              </a:ext>
            </a:extLst>
          </p:cNvPr>
          <p:cNvSpPr txBox="1"/>
          <p:nvPr userDrawn="1"/>
        </p:nvSpPr>
        <p:spPr>
          <a:xfrm>
            <a:off x="10071556" y="6280122"/>
            <a:ext cx="16834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</p:spTree>
    <p:extLst>
      <p:ext uri="{BB962C8B-B14F-4D97-AF65-F5344CB8AC3E}">
        <p14:creationId xmlns:p14="http://schemas.microsoft.com/office/powerpoint/2010/main" val="4081280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E46E87B-3107-B447-BAD1-BBE333BC32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3545F08-5D8B-9747-B094-785A90FEC3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970" y="6280122"/>
            <a:ext cx="1035780" cy="20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04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 med mørkeblå v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4C1E868-8CC5-4B5A-8FD2-0E51974391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99846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4C1E868-8CC5-4B5A-8FD2-0E5197439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21F7074A-4B74-4162-9F0E-35B091C24ECC}"/>
              </a:ext>
            </a:extLst>
          </p:cNvPr>
          <p:cNvSpPr/>
          <p:nvPr/>
        </p:nvSpPr>
        <p:spPr>
          <a:xfrm>
            <a:off x="0" y="5999749"/>
            <a:ext cx="12192000" cy="858252"/>
          </a:xfrm>
          <a:prstGeom prst="rect">
            <a:avLst/>
          </a:prstGeom>
          <a:solidFill>
            <a:srgbClr val="1137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510BE2-67C5-824A-9F6B-A46698CEA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6971" y="6280123"/>
            <a:ext cx="1035780" cy="20451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45312B6-C89B-504B-9A2A-127006D1D95D}"/>
              </a:ext>
            </a:extLst>
          </p:cNvPr>
          <p:cNvSpPr txBox="1"/>
          <p:nvPr/>
        </p:nvSpPr>
        <p:spPr>
          <a:xfrm>
            <a:off x="10071556" y="6280123"/>
            <a:ext cx="15650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1200">
                <a:solidFill>
                  <a:schemeClr val="bg1"/>
                </a:solidFill>
              </a:rPr>
              <a:t>Det </a:t>
            </a:r>
            <a:r>
              <a:rPr lang="en-NO" sz="1200" b="1" i="0" baseline="0">
                <a:solidFill>
                  <a:schemeClr val="bg1"/>
                </a:solidFill>
              </a:rPr>
              <a:t>grønne</a:t>
            </a:r>
            <a:r>
              <a:rPr lang="en-NO" sz="1200">
                <a:solidFill>
                  <a:schemeClr val="bg1"/>
                </a:solidFill>
              </a:rPr>
              <a:t> taktskifte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F0A917C-60A4-4FC3-8016-EC0EAFF02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003" y="273268"/>
            <a:ext cx="11604320" cy="7705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55EC513-595E-4081-AD0E-89B89238B0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003" y="1060537"/>
            <a:ext cx="11604320" cy="4843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pic>
        <p:nvPicPr>
          <p:cNvPr id="3" name="Picture 2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41A5FDDD-9620-B64D-A163-8BC1169E7C2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70D5DF"/>
              </a:clrFrom>
              <a:clrTo>
                <a:srgbClr val="70D5DF">
                  <a:alpha val="0"/>
                </a:srgbClr>
              </a:clrTo>
            </a:clrChange>
          </a:blip>
          <a:srcRect l="60982" t="71111" r="13161" b="6806"/>
          <a:stretch/>
        </p:blipFill>
        <p:spPr>
          <a:xfrm>
            <a:off x="9768228" y="5205110"/>
            <a:ext cx="2237873" cy="1075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1152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EB8E38-9D66-43AA-84B6-DBCCBB9DA7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Click here to enter heading</a:t>
            </a:r>
            <a:endParaRPr lang="en-GB" noProof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0F77A36-D8FD-4BA9-8E58-035DC7387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8BF558-6A5D-4CB0-A7ED-34E2C32B57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401" y="1792106"/>
            <a:ext cx="9388475" cy="4084820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1999"/>
            </a:lvl1pPr>
          </a:lstStyle>
          <a:p>
            <a:pPr lvl="0"/>
            <a:r>
              <a:rPr lang="en-US" noProof="0"/>
              <a:t>Click here to enter text</a:t>
            </a:r>
          </a:p>
        </p:txBody>
      </p:sp>
    </p:spTree>
    <p:extLst>
      <p:ext uri="{BB962C8B-B14F-4D97-AF65-F5344CB8AC3E}">
        <p14:creationId xmlns:p14="http://schemas.microsoft.com/office/powerpoint/2010/main" val="4194834402"/>
      </p:ext>
    </p:extLst>
  </p:cSld>
  <p:clrMapOvr>
    <a:masterClrMapping/>
  </p:clrMapOvr>
  <p:hf sldNum="0"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ttel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5" y="557188"/>
            <a:ext cx="9025003" cy="49244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424" y="1316765"/>
            <a:ext cx="4338240" cy="499255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316765"/>
            <a:ext cx="4800533" cy="4992555"/>
          </a:xfrm>
          <a:solidFill>
            <a:schemeClr val="bg1">
              <a:lumMod val="95000"/>
            </a:schemeClr>
          </a:solidFill>
        </p:spPr>
        <p:txBody>
          <a:bodyPr tIns="1512000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11" name="Plassholder for dato 10"/>
          <p:cNvSpPr>
            <a:spLocks noGrp="1"/>
          </p:cNvSpPr>
          <p:nvPr>
            <p:ph type="dt" sz="half" idx="14"/>
          </p:nvPr>
        </p:nvSpPr>
        <p:spPr>
          <a:xfrm>
            <a:off x="8298421" y="6465584"/>
            <a:ext cx="1788683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sp>
        <p:nvSpPr>
          <p:cNvPr id="12" name="Plassholder for bunntekst 11"/>
          <p:cNvSpPr>
            <a:spLocks noGrp="1"/>
          </p:cNvSpPr>
          <p:nvPr>
            <p:ph type="ftr" sz="quarter" idx="15"/>
          </p:nvPr>
        </p:nvSpPr>
        <p:spPr>
          <a:xfrm>
            <a:off x="335362" y="6465584"/>
            <a:ext cx="2360991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Fremtiden er </a:t>
            </a:r>
            <a:r>
              <a:rPr lang="nb-NO" b="1"/>
              <a:t>elektrisk</a:t>
            </a:r>
          </a:p>
        </p:txBody>
      </p:sp>
      <p:sp>
        <p:nvSpPr>
          <p:cNvPr id="13" name="Plassholder for lysbildenummer 12"/>
          <p:cNvSpPr>
            <a:spLocks noGrp="1"/>
          </p:cNvSpPr>
          <p:nvPr>
            <p:ph type="sldNum" sz="quarter" idx="16"/>
          </p:nvPr>
        </p:nvSpPr>
        <p:spPr>
          <a:xfrm>
            <a:off x="4673600" y="6465584"/>
            <a:ext cx="2844800" cy="224451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165053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bilde 13"/>
          <p:cNvSpPr>
            <a:spLocks noGrp="1"/>
          </p:cNvSpPr>
          <p:nvPr>
            <p:ph type="pic" sz="quarter" idx="11" hasCustomPrompt="1"/>
          </p:nvPr>
        </p:nvSpPr>
        <p:spPr>
          <a:xfrm>
            <a:off x="310698" y="312000"/>
            <a:ext cx="11570791" cy="5376672"/>
          </a:xfrm>
          <a:custGeom>
            <a:avLst/>
            <a:gdLst>
              <a:gd name="connsiteX0" fmla="*/ 0 w 8521200"/>
              <a:gd name="connsiteY0" fmla="*/ 0 h 5013208"/>
              <a:gd name="connsiteX1" fmla="*/ 8521200 w 8521200"/>
              <a:gd name="connsiteY1" fmla="*/ 0 h 5013208"/>
              <a:gd name="connsiteX2" fmla="*/ 8521200 w 8521200"/>
              <a:gd name="connsiteY2" fmla="*/ 5013208 h 5013208"/>
              <a:gd name="connsiteX3" fmla="*/ 0 w 8521200"/>
              <a:gd name="connsiteY3" fmla="*/ 5013208 h 5013208"/>
              <a:gd name="connsiteX4" fmla="*/ 0 w 8521200"/>
              <a:gd name="connsiteY4" fmla="*/ 0 h 5013208"/>
              <a:gd name="connsiteX0" fmla="*/ 2247 w 8523447"/>
              <a:gd name="connsiteY0" fmla="*/ 0 h 5013208"/>
              <a:gd name="connsiteX1" fmla="*/ 8523447 w 8523447"/>
              <a:gd name="connsiteY1" fmla="*/ 0 h 5013208"/>
              <a:gd name="connsiteX2" fmla="*/ 8523447 w 8523447"/>
              <a:gd name="connsiteY2" fmla="*/ 5013208 h 5013208"/>
              <a:gd name="connsiteX3" fmla="*/ 2247 w 8523447"/>
              <a:gd name="connsiteY3" fmla="*/ 5013208 h 5013208"/>
              <a:gd name="connsiteX4" fmla="*/ 0 w 8523447"/>
              <a:gd name="connsiteY4" fmla="*/ 2907638 h 5013208"/>
              <a:gd name="connsiteX5" fmla="*/ 2247 w 8523447"/>
              <a:gd name="connsiteY5" fmla="*/ 0 h 5013208"/>
              <a:gd name="connsiteX0" fmla="*/ 2247 w 8523447"/>
              <a:gd name="connsiteY0" fmla="*/ 0 h 5013208"/>
              <a:gd name="connsiteX1" fmla="*/ 8523447 w 8523447"/>
              <a:gd name="connsiteY1" fmla="*/ 0 h 5013208"/>
              <a:gd name="connsiteX2" fmla="*/ 8523447 w 8523447"/>
              <a:gd name="connsiteY2" fmla="*/ 5013208 h 5013208"/>
              <a:gd name="connsiteX3" fmla="*/ 0 w 8523447"/>
              <a:gd name="connsiteY3" fmla="*/ 2907638 h 5013208"/>
              <a:gd name="connsiteX4" fmla="*/ 2247 w 8523447"/>
              <a:gd name="connsiteY4" fmla="*/ 0 h 5013208"/>
              <a:gd name="connsiteX0" fmla="*/ 12708 w 8533908"/>
              <a:gd name="connsiteY0" fmla="*/ 0 h 5013208"/>
              <a:gd name="connsiteX1" fmla="*/ 8533908 w 8533908"/>
              <a:gd name="connsiteY1" fmla="*/ 0 h 5013208"/>
              <a:gd name="connsiteX2" fmla="*/ 8533908 w 8533908"/>
              <a:gd name="connsiteY2" fmla="*/ 5013208 h 5013208"/>
              <a:gd name="connsiteX3" fmla="*/ 10461 w 8533908"/>
              <a:gd name="connsiteY3" fmla="*/ 2907638 h 5013208"/>
              <a:gd name="connsiteX4" fmla="*/ 0 w 8533908"/>
              <a:gd name="connsiteY4" fmla="*/ 2526415 h 5013208"/>
              <a:gd name="connsiteX5" fmla="*/ 12708 w 8533908"/>
              <a:gd name="connsiteY5" fmla="*/ 0 h 5013208"/>
              <a:gd name="connsiteX0" fmla="*/ 12708 w 8533908"/>
              <a:gd name="connsiteY0" fmla="*/ 0 h 5013208"/>
              <a:gd name="connsiteX1" fmla="*/ 8533908 w 8533908"/>
              <a:gd name="connsiteY1" fmla="*/ 0 h 5013208"/>
              <a:gd name="connsiteX2" fmla="*/ 8533908 w 8533908"/>
              <a:gd name="connsiteY2" fmla="*/ 5013208 h 5013208"/>
              <a:gd name="connsiteX3" fmla="*/ 0 w 8533908"/>
              <a:gd name="connsiteY3" fmla="*/ 2526415 h 5013208"/>
              <a:gd name="connsiteX4" fmla="*/ 12708 w 8533908"/>
              <a:gd name="connsiteY4" fmla="*/ 0 h 5013208"/>
              <a:gd name="connsiteX0" fmla="*/ 21254 w 8542454"/>
              <a:gd name="connsiteY0" fmla="*/ 0 h 5013208"/>
              <a:gd name="connsiteX1" fmla="*/ 8542454 w 8542454"/>
              <a:gd name="connsiteY1" fmla="*/ 0 h 5013208"/>
              <a:gd name="connsiteX2" fmla="*/ 8542454 w 8542454"/>
              <a:gd name="connsiteY2" fmla="*/ 5013208 h 5013208"/>
              <a:gd name="connsiteX3" fmla="*/ 8546 w 8542454"/>
              <a:gd name="connsiteY3" fmla="*/ 2526415 h 5013208"/>
              <a:gd name="connsiteX4" fmla="*/ 0 w 8542454"/>
              <a:gd name="connsiteY4" fmla="*/ 2350166 h 5013208"/>
              <a:gd name="connsiteX5" fmla="*/ 21254 w 8542454"/>
              <a:gd name="connsiteY5" fmla="*/ 0 h 5013208"/>
              <a:gd name="connsiteX0" fmla="*/ 21254 w 8542454"/>
              <a:gd name="connsiteY0" fmla="*/ 0 h 5013208"/>
              <a:gd name="connsiteX1" fmla="*/ 8542454 w 8542454"/>
              <a:gd name="connsiteY1" fmla="*/ 0 h 5013208"/>
              <a:gd name="connsiteX2" fmla="*/ 8542454 w 8542454"/>
              <a:gd name="connsiteY2" fmla="*/ 5013208 h 5013208"/>
              <a:gd name="connsiteX3" fmla="*/ 0 w 8542454"/>
              <a:gd name="connsiteY3" fmla="*/ 2350166 h 5013208"/>
              <a:gd name="connsiteX4" fmla="*/ 21254 w 8542454"/>
              <a:gd name="connsiteY4" fmla="*/ 0 h 5013208"/>
              <a:gd name="connsiteX0" fmla="*/ 0 w 8552242"/>
              <a:gd name="connsiteY0" fmla="*/ 0 h 5013208"/>
              <a:gd name="connsiteX1" fmla="*/ 8552242 w 8552242"/>
              <a:gd name="connsiteY1" fmla="*/ 0 h 5013208"/>
              <a:gd name="connsiteX2" fmla="*/ 8552242 w 8552242"/>
              <a:gd name="connsiteY2" fmla="*/ 5013208 h 5013208"/>
              <a:gd name="connsiteX3" fmla="*/ 9788 w 8552242"/>
              <a:gd name="connsiteY3" fmla="*/ 2350166 h 5013208"/>
              <a:gd name="connsiteX4" fmla="*/ 0 w 8552242"/>
              <a:gd name="connsiteY4" fmla="*/ 0 h 5013208"/>
              <a:gd name="connsiteX0" fmla="*/ 0 w 8552242"/>
              <a:gd name="connsiteY0" fmla="*/ 0 h 5013208"/>
              <a:gd name="connsiteX1" fmla="*/ 8552242 w 8552242"/>
              <a:gd name="connsiteY1" fmla="*/ 0 h 5013208"/>
              <a:gd name="connsiteX2" fmla="*/ 8552242 w 8552242"/>
              <a:gd name="connsiteY2" fmla="*/ 5013208 h 5013208"/>
              <a:gd name="connsiteX3" fmla="*/ 9788 w 8552242"/>
              <a:gd name="connsiteY3" fmla="*/ 2350166 h 5013208"/>
              <a:gd name="connsiteX4" fmla="*/ 0 w 8552242"/>
              <a:gd name="connsiteY4" fmla="*/ 0 h 5013208"/>
              <a:gd name="connsiteX0" fmla="*/ 0 w 8549116"/>
              <a:gd name="connsiteY0" fmla="*/ 3947 h 5013208"/>
              <a:gd name="connsiteX1" fmla="*/ 8549116 w 8549116"/>
              <a:gd name="connsiteY1" fmla="*/ 0 h 5013208"/>
              <a:gd name="connsiteX2" fmla="*/ 8549116 w 8549116"/>
              <a:gd name="connsiteY2" fmla="*/ 5013208 h 5013208"/>
              <a:gd name="connsiteX3" fmla="*/ 6662 w 8549116"/>
              <a:gd name="connsiteY3" fmla="*/ 2350166 h 5013208"/>
              <a:gd name="connsiteX4" fmla="*/ 0 w 8549116"/>
              <a:gd name="connsiteY4" fmla="*/ 3947 h 5013208"/>
              <a:gd name="connsiteX0" fmla="*/ 0 w 8549116"/>
              <a:gd name="connsiteY0" fmla="*/ 3947 h 5013208"/>
              <a:gd name="connsiteX1" fmla="*/ 8549116 w 8549116"/>
              <a:gd name="connsiteY1" fmla="*/ 0 h 5013208"/>
              <a:gd name="connsiteX2" fmla="*/ 8549116 w 8549116"/>
              <a:gd name="connsiteY2" fmla="*/ 5013208 h 5013208"/>
              <a:gd name="connsiteX3" fmla="*/ 6662 w 8549116"/>
              <a:gd name="connsiteY3" fmla="*/ 2350166 h 5013208"/>
              <a:gd name="connsiteX4" fmla="*/ 0 w 8549116"/>
              <a:gd name="connsiteY4" fmla="*/ 3947 h 5013208"/>
              <a:gd name="connsiteX0" fmla="*/ 581 w 8543446"/>
              <a:gd name="connsiteY0" fmla="*/ 3947 h 5013208"/>
              <a:gd name="connsiteX1" fmla="*/ 8543446 w 8543446"/>
              <a:gd name="connsiteY1" fmla="*/ 0 h 5013208"/>
              <a:gd name="connsiteX2" fmla="*/ 8543446 w 8543446"/>
              <a:gd name="connsiteY2" fmla="*/ 5013208 h 5013208"/>
              <a:gd name="connsiteX3" fmla="*/ 992 w 8543446"/>
              <a:gd name="connsiteY3" fmla="*/ 2350166 h 5013208"/>
              <a:gd name="connsiteX4" fmla="*/ 581 w 8543446"/>
              <a:gd name="connsiteY4" fmla="*/ 3947 h 5013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3446" h="5013208">
                <a:moveTo>
                  <a:pt x="581" y="3947"/>
                </a:moveTo>
                <a:lnTo>
                  <a:pt x="8543446" y="0"/>
                </a:lnTo>
                <a:lnTo>
                  <a:pt x="8543446" y="5013208"/>
                </a:lnTo>
                <a:lnTo>
                  <a:pt x="992" y="2350166"/>
                </a:lnTo>
                <a:cubicBezTo>
                  <a:pt x="-2271" y="1566777"/>
                  <a:pt x="3844" y="787336"/>
                  <a:pt x="581" y="3947"/>
                </a:cubicBez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1872000"/>
          <a:lstStyle>
            <a:lvl1pPr marL="0" indent="0" algn="ctr">
              <a:buNone/>
              <a:defRPr/>
            </a:lvl1pPr>
          </a:lstStyle>
          <a:p>
            <a:r>
              <a:rPr lang="nb-NO"/>
              <a:t>Sett inn bil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713" y="4611840"/>
            <a:ext cx="6679395" cy="727261"/>
          </a:xfrm>
        </p:spPr>
        <p:txBody>
          <a:bodyPr wrap="square" anchor="ctr">
            <a:noAutofit/>
          </a:bodyPr>
          <a:lstStyle>
            <a:lvl1pPr>
              <a:defRPr sz="3733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6712" y="5489845"/>
            <a:ext cx="8931979" cy="307239"/>
          </a:xfrm>
        </p:spPr>
        <p:txBody>
          <a:bodyPr>
            <a:noAutofit/>
          </a:bodyPr>
          <a:lstStyle>
            <a:lvl1pPr marL="0" indent="0" algn="l">
              <a:buNone/>
              <a:defRPr sz="1867" b="1" i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699" y="6060525"/>
            <a:ext cx="8928992" cy="224451"/>
          </a:xfrm>
          <a:prstGeom prst="rect">
            <a:avLst/>
          </a:prstGeom>
        </p:spPr>
        <p:txBody>
          <a:bodyPr/>
          <a:lstStyle>
            <a:lvl1pPr algn="l">
              <a:defRPr lang="nb-NO" sz="1333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A9B943B-CE89-496D-8A31-C955F92232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3136" y="6060524"/>
            <a:ext cx="1571328" cy="89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652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776B4366-9D4C-4947-91E1-9673D14690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6247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B846F770-D606-46AC-BE5F-4667DE42B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37ABDD5A-00BD-43D2-90AF-C54E9D538A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95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50CCFD96-ABB9-4A3E-AC47-B9273AD85C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741" y="0"/>
            <a:ext cx="12192000" cy="6858000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F7DCFBEC-4B5A-4845-828A-77B87C239D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3344" y="37541"/>
            <a:ext cx="1571328" cy="89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1779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3D894B4B-0751-477C-85B8-C5DD01C14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" y="1"/>
            <a:ext cx="12189931" cy="6885384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6AE0E16B-45C8-435D-846D-1D3C4AE4CC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725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EC81FBCF-7443-4BFF-8029-DC79AB96E3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382" y="-8621"/>
            <a:ext cx="12210763" cy="6866621"/>
          </a:xfrm>
          <a:prstGeom prst="rect">
            <a:avLst/>
          </a:prstGeom>
        </p:spPr>
      </p:pic>
      <p:sp>
        <p:nvSpPr>
          <p:cNvPr id="6" name="Tittel 6"/>
          <p:cNvSpPr>
            <a:spLocks noGrp="1"/>
          </p:cNvSpPr>
          <p:nvPr>
            <p:ph type="title" hasCustomPrompt="1"/>
          </p:nvPr>
        </p:nvSpPr>
        <p:spPr>
          <a:xfrm>
            <a:off x="911424" y="557188"/>
            <a:ext cx="9121013" cy="492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Heading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ABA4A0C-2E63-4EEB-8982-4A19E97F6E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513" y="328000"/>
            <a:ext cx="1095699" cy="22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697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image" Target="../media/image27.emf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8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7.xml"/><Relationship Id="rId50" Type="http://schemas.openxmlformats.org/officeDocument/2006/relationships/theme" Target="../theme/theme3.xml"/><Relationship Id="rId55" Type="http://schemas.openxmlformats.org/officeDocument/2006/relationships/oleObject" Target="../embeddings/oleObject3.bin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3" Type="http://schemas.openxmlformats.org/officeDocument/2006/relationships/oleObject" Target="../embeddings/oleObject2.bin"/><Relationship Id="rId58" Type="http://schemas.openxmlformats.org/officeDocument/2006/relationships/image" Target="../media/image31.jpeg"/><Relationship Id="rId5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8.xml"/><Relationship Id="rId56" Type="http://schemas.openxmlformats.org/officeDocument/2006/relationships/image" Target="../media/image29.emf"/><Relationship Id="rId8" Type="http://schemas.openxmlformats.org/officeDocument/2006/relationships/slideLayout" Target="../slideLayouts/slideLayout6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Relationship Id="rId54" Type="http://schemas.openxmlformats.org/officeDocument/2006/relationships/image" Target="../media/image28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49" Type="http://schemas.openxmlformats.org/officeDocument/2006/relationships/slideLayout" Target="../slideLayouts/slideLayout109.xml"/><Relationship Id="rId57" Type="http://schemas.openxmlformats.org/officeDocument/2006/relationships/image" Target="../media/image30.png"/><Relationship Id="rId10" Type="http://schemas.openxmlformats.org/officeDocument/2006/relationships/slideLayout" Target="../slideLayouts/slideLayout70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5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DFF4E3-0BCE-B94F-8FF0-20144C4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E5A81-C944-2341-8778-B5CDBA8A7E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54530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8" r:id="rId2"/>
    <p:sldLayoutId id="2147483689" r:id="rId3"/>
    <p:sldLayoutId id="2147483694" r:id="rId4"/>
    <p:sldLayoutId id="2147483673" r:id="rId5"/>
    <p:sldLayoutId id="2147483699" r:id="rId6"/>
    <p:sldLayoutId id="2147483674" r:id="rId7"/>
    <p:sldLayoutId id="2147483708" r:id="rId8"/>
    <p:sldLayoutId id="2147483681" r:id="rId9"/>
    <p:sldLayoutId id="2147483707" r:id="rId10"/>
    <p:sldLayoutId id="2147483692" r:id="rId11"/>
    <p:sldLayoutId id="2147483685" r:id="rId12"/>
    <p:sldLayoutId id="2147483691" r:id="rId13"/>
    <p:sldLayoutId id="2147483693" r:id="rId14"/>
    <p:sldLayoutId id="2147483686" r:id="rId15"/>
    <p:sldLayoutId id="2147483690" r:id="rId16"/>
    <p:sldLayoutId id="2147483687" r:id="rId17"/>
    <p:sldLayoutId id="2147483709" r:id="rId18"/>
    <p:sldLayoutId id="2147483710" r:id="rId19"/>
    <p:sldLayoutId id="2147483695" r:id="rId20"/>
    <p:sldLayoutId id="2147483702" r:id="rId21"/>
    <p:sldLayoutId id="2147483696" r:id="rId22"/>
    <p:sldLayoutId id="2147483700" r:id="rId23"/>
    <p:sldLayoutId id="2147483701" r:id="rId24"/>
    <p:sldLayoutId id="2147483697" r:id="rId25"/>
    <p:sldLayoutId id="2147483703" r:id="rId26"/>
    <p:sldLayoutId id="2147483698" r:id="rId27"/>
    <p:sldLayoutId id="2147483705" r:id="rId28"/>
    <p:sldLayoutId id="2147483706" r:id="rId29"/>
    <p:sldLayoutId id="2147483704" r:id="rId3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baseline="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311DAA3-06DC-181C-DC56-ACDADAE99B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45658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00" imgH="393" progId="TCLayout.ActiveDocument.1">
                  <p:embed/>
                </p:oleObj>
              </mc:Choice>
              <mc:Fallback>
                <p:oleObj name="think-cell Slide" r:id="rId33" imgW="400" imgH="39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11DAA3-06DC-181C-DC56-ACDADAE99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DFF4E3-0BCE-B94F-8FF0-20144C4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E5A81-C944-2341-8778-B5CDBA8A7E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7477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baseline="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321D5B-7BAF-4C67-9605-C3F972C98404}"/>
              </a:ext>
            </a:extLst>
          </p:cNvPr>
          <p:cNvGraphicFramePr>
            <a:graphicFrameLocks noChangeAspect="1"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4140069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353" imgH="353" progId="TCLayout.ActiveDocument.1">
                  <p:embed/>
                </p:oleObj>
              </mc:Choice>
              <mc:Fallback>
                <p:oleObj name="think-cell Slide" r:id="rId5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321D5B-7BAF-4C67-9605-C3F972C98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DFF4E3-0BCE-B94F-8FF0-20144C48E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3E5A81-C944-2341-8778-B5CDBA8A7E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8FBEF42-AE1E-41F7-88F2-770BA07C0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301988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272" imgH="272" progId="TCLayout.ActiveDocument.1">
                  <p:embed/>
                </p:oleObj>
              </mc:Choice>
              <mc:Fallback>
                <p:oleObj name="think-cell Slide" r:id="rId55" imgW="272" imgH="272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8FBEF42-AE1E-41F7-88F2-770BA07C0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901E488F-B841-46C2-BE9A-F5FB8A6A9D6F}"/>
              </a:ext>
            </a:extLst>
          </p:cNvPr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3344" y="37541"/>
            <a:ext cx="1571328" cy="89518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BBB4DB6B-A7D9-4B09-943C-36ECF153A5C7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2384" y="6145536"/>
            <a:ext cx="2662128" cy="736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045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  <p:sldLayoutId id="2147483783" r:id="rId41"/>
    <p:sldLayoutId id="2147483784" r:id="rId42"/>
    <p:sldLayoutId id="2147483785" r:id="rId43"/>
    <p:sldLayoutId id="2147483786" r:id="rId44"/>
    <p:sldLayoutId id="2147483787" r:id="rId45"/>
    <p:sldLayoutId id="2147483788" r:id="rId46"/>
    <p:sldLayoutId id="2147483789" r:id="rId47"/>
    <p:sldLayoutId id="2147483790" r:id="rId48"/>
    <p:sldLayoutId id="2147483791" r:id="rId4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baseline="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hyperlink" Target="https://www.nve.no/konsesjon/konsesjonssaker/konsesjonssak?id=7508&amp;type=A-1" TargetMode="Externa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hyperlink" Target="https://www.nve.no/konsesjon/konsesjonssaker/konsesjonssak?id=7508&amp;type=A-1" TargetMode="Externa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81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mailto:espen.viken@statnett.no" TargetMode="External"/><Relationship Id="rId3" Type="http://schemas.openxmlformats.org/officeDocument/2006/relationships/hyperlink" Target="mailto:ingrid.zimmermann@statnett.no" TargetMode="External"/><Relationship Id="rId7" Type="http://schemas.openxmlformats.org/officeDocument/2006/relationships/hyperlink" Target="tel:+4790876205" TargetMode="External"/><Relationship Id="rId12" Type="http://schemas.openxmlformats.org/officeDocument/2006/relationships/image" Target="../media/image9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0.xml"/><Relationship Id="rId6" Type="http://schemas.openxmlformats.org/officeDocument/2006/relationships/hyperlink" Target="tel:+4778932159" TargetMode="External"/><Relationship Id="rId11" Type="http://schemas.openxmlformats.org/officeDocument/2006/relationships/hyperlink" Target="https://www.statnett.no/vare-prosjekter/region-nord/skaidi-hammerfest/#kontakt" TargetMode="External"/><Relationship Id="rId5" Type="http://schemas.openxmlformats.org/officeDocument/2006/relationships/hyperlink" Target="mailto:jacob.gronn@statnett.no" TargetMode="External"/><Relationship Id="rId10" Type="http://schemas.openxmlformats.org/officeDocument/2006/relationships/image" Target="../media/image90.png"/><Relationship Id="rId4" Type="http://schemas.openxmlformats.org/officeDocument/2006/relationships/hyperlink" Target="tel:+4748227767" TargetMode="External"/><Relationship Id="rId9" Type="http://schemas.openxmlformats.org/officeDocument/2006/relationships/image" Target="../media/image8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108E7-0EC3-EA46-A59A-0EC62EA11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420 kV Skaidi- Hammerfest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157DF8-416E-E54A-ABD5-BF8BFB1FA1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74961" y="2821256"/>
            <a:ext cx="9490024" cy="959237"/>
          </a:xfrm>
        </p:spPr>
        <p:txBody>
          <a:bodyPr/>
          <a:lstStyle/>
          <a:p>
            <a:pPr algn="ctr"/>
            <a:r>
              <a:rPr lang="nb-NO" b="1"/>
              <a:t>Ny kraftledning</a:t>
            </a:r>
          </a:p>
          <a:p>
            <a:pPr algn="ctr"/>
            <a:r>
              <a:rPr lang="nb-NO" b="1"/>
              <a:t>Folkemøte Hammerfest kommune 23. april 2024 </a:t>
            </a:r>
            <a:endParaRPr lang="en-NO" b="1"/>
          </a:p>
        </p:txBody>
      </p:sp>
    </p:spTree>
    <p:extLst>
      <p:ext uri="{BB962C8B-B14F-4D97-AF65-F5344CB8AC3E}">
        <p14:creationId xmlns:p14="http://schemas.microsoft.com/office/powerpoint/2010/main" val="41707344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D0153AB-BEE4-CCE8-0275-C54B3E482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DCA510B-C792-0F80-90EA-41057A1B298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 descr="Et bilde som inneholder utendørs, plante, tre, landskap&#10;&#10;Automatisk generert beskrivelse">
            <a:extLst>
              <a:ext uri="{FF2B5EF4-FFF2-40B4-BE49-F238E27FC236}">
                <a16:creationId xmlns:a16="http://schemas.microsoft.com/office/drawing/2014/main" id="{A5DC0934-C17A-67E5-CBF7-50B77C891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99576" cy="579120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1E674B3-05A4-8D8C-BA71-C459885FBEA1}"/>
              </a:ext>
            </a:extLst>
          </p:cNvPr>
          <p:cNvSpPr txBox="1"/>
          <p:nvPr/>
        </p:nvSpPr>
        <p:spPr>
          <a:xfrm>
            <a:off x="185036" y="465365"/>
            <a:ext cx="41328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Skaidi transformator stasj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Planlagt oppstart august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Grunnarbeider, bygg og betong, kontrakt settes i jun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Elektro leveranse, kontrakt settes juni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Planlagt ferdigstillelse: Q2202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39509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B66E78E-26E4-DC5A-9676-E1C11320E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akta: Skaidi transformator stasjo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4C2492D-B9C9-9717-2F74-D3A40928284E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numCol="1" spcCol="360000" rtlCol="0" anchor="t">
            <a:normAutofit lnSpcReduction="10000"/>
          </a:bodyPr>
          <a:lstStyle/>
          <a:p>
            <a:r>
              <a:rPr lang="nb-NO">
                <a:latin typeface="Calibri Light"/>
                <a:cs typeface="Calibri Light"/>
              </a:rPr>
              <a:t>Avskoging mot E-6,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12 daa. Skogbelte mot hytter </a:t>
            </a:r>
          </a:p>
          <a:p>
            <a:r>
              <a:rPr lang="nb-NO">
                <a:latin typeface="Calibri Light"/>
                <a:cs typeface="Calibri Light"/>
              </a:rPr>
              <a:t>Utbedre vei inn til stasjonsområdet. Vil bli asfaltert. </a:t>
            </a:r>
          </a:p>
          <a:p>
            <a:r>
              <a:rPr lang="nb-NO">
                <a:latin typeface="Calibri Light"/>
                <a:cs typeface="Calibri Light"/>
              </a:rPr>
              <a:t>Etablere parkeringsplasser for fritidsboliger vest for </a:t>
            </a:r>
            <a:r>
              <a:rPr lang="nb-NO" err="1">
                <a:latin typeface="Calibri Light"/>
                <a:cs typeface="Calibri Light"/>
              </a:rPr>
              <a:t>adkomsvei</a:t>
            </a:r>
            <a:endParaRPr lang="nb-NO">
              <a:latin typeface="Calibri Light"/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Hall for GIS-anlegg. 1600m²</a:t>
            </a:r>
          </a:p>
          <a:p>
            <a:r>
              <a:rPr lang="nb-NO">
                <a:latin typeface="Calibri Light"/>
                <a:cs typeface="Calibri Light"/>
              </a:rPr>
              <a:t>3 </a:t>
            </a:r>
            <a:r>
              <a:rPr lang="nb-NO" err="1">
                <a:latin typeface="Calibri Light"/>
                <a:cs typeface="Calibri Light"/>
              </a:rPr>
              <a:t>stk</a:t>
            </a:r>
            <a:r>
              <a:rPr lang="nb-NO">
                <a:latin typeface="Calibri Light"/>
                <a:cs typeface="Calibri Light"/>
              </a:rPr>
              <a:t> sjakter. 2 for transformatorer og en for reaktor. Areal 1200m²</a:t>
            </a:r>
          </a:p>
          <a:p>
            <a:r>
              <a:rPr lang="nb-NO">
                <a:latin typeface="Calibri Light"/>
                <a:cs typeface="Calibri Light"/>
              </a:rPr>
              <a:t>Velferdsbygg med garasje og lager. 300m²</a:t>
            </a:r>
          </a:p>
          <a:p>
            <a:r>
              <a:rPr lang="nb-NO">
                <a:latin typeface="Calibri Light"/>
                <a:cs typeface="Calibri Light"/>
              </a:rPr>
              <a:t>Bro for ATV/UTV over </a:t>
            </a:r>
            <a:r>
              <a:rPr lang="nb-NO" err="1">
                <a:latin typeface="Calibri Light"/>
                <a:cs typeface="Calibri Light"/>
              </a:rPr>
              <a:t>Guorrojohka</a:t>
            </a:r>
            <a:endParaRPr lang="nb-NO"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Massetransport ut av anlegget,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23000m³. </a:t>
            </a:r>
            <a:endParaRPr lang="nb-NO"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Betong, medgår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2500m³. </a:t>
            </a:r>
            <a:endParaRPr lang="nb-NO">
              <a:cs typeface="Calibri Light"/>
            </a:endParaRPr>
          </a:p>
          <a:p>
            <a:endParaRPr lang="nb-NO"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5247460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DBA7342-F697-495F-BDB2-F98AEF18D1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51D9D46-74F2-7A1F-01E4-29B574FAB31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 descr="Et bilde som inneholder utendørs, sky, landskap, vann&#10;&#10;Automatisk generert beskrivelse">
            <a:extLst>
              <a:ext uri="{FF2B5EF4-FFF2-40B4-BE49-F238E27FC236}">
                <a16:creationId xmlns:a16="http://schemas.microsoft.com/office/drawing/2014/main" id="{69C2ED52-2B82-3C05-7F42-4DBFCB7F22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59765"/>
            <a:ext cx="12192000" cy="5729209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C5198C31-A02B-B177-15EC-833AEC57E917}"/>
              </a:ext>
            </a:extLst>
          </p:cNvPr>
          <p:cNvSpPr txBox="1"/>
          <p:nvPr/>
        </p:nvSpPr>
        <p:spPr>
          <a:xfrm>
            <a:off x="310542" y="3471093"/>
            <a:ext cx="41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Skaidi- Hyggevat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Planlagt oppstart mai/juni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Ledningskontrakt tildelt Dalekovo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Europeisk selska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Etablert anleggskontor i Kvals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Planlagt ferdigstillelse: Q4202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4178969-7818-9A1D-63C2-546D108D1815}"/>
              </a:ext>
            </a:extLst>
          </p:cNvPr>
          <p:cNvSpPr txBox="1"/>
          <p:nvPr/>
        </p:nvSpPr>
        <p:spPr>
          <a:xfrm>
            <a:off x="7509201" y="3429000"/>
            <a:ext cx="41328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Skaidi- Hyggevat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54 k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168 m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2000 tonn stål til ma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Byggetid ca. 3 å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72139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4778EE-D8C7-FC44-E977-C1B623C7E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/>
              <a:t>Hvem gjør hva ?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34EB417-F04F-E33E-86EC-BA7E7A525CD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nb-NO" b="1"/>
              <a:t>Statnett</a:t>
            </a:r>
            <a:r>
              <a:rPr lang="nb-NO"/>
              <a:t> prosjekterer utbyggingen, er byggherre og har ansvaret for at arbeidet utføres i henhold til norsk lov og til vilkårene som er gitt av NVE og ED ved konsesjonstildelingen</a:t>
            </a:r>
          </a:p>
          <a:p>
            <a:r>
              <a:rPr lang="nb-NO" b="1"/>
              <a:t>Statnett</a:t>
            </a:r>
            <a:r>
              <a:rPr lang="nb-NO"/>
              <a:t> har ansvar for alle forhold som berører befolkningen der utbyggingen finner sted</a:t>
            </a:r>
          </a:p>
          <a:p>
            <a:r>
              <a:rPr lang="nb-NO" b="1"/>
              <a:t>Leverandør</a:t>
            </a:r>
            <a:r>
              <a:rPr lang="nb-NO"/>
              <a:t> gjennomfører byggingen innenfor de vilkår som er avtalt i utbyggingskontrakten med Statnett</a:t>
            </a:r>
          </a:p>
          <a:p>
            <a:r>
              <a:rPr lang="nb-NO" b="1"/>
              <a:t>Leverandør</a:t>
            </a:r>
            <a:r>
              <a:rPr lang="nb-NO"/>
              <a:t> knytter til seg underentreprenører som utfører deler av byggeoppdraget på vegene av seg.</a:t>
            </a:r>
          </a:p>
        </p:txBody>
      </p:sp>
    </p:spTree>
    <p:extLst>
      <p:ext uri="{BB962C8B-B14F-4D97-AF65-F5344CB8AC3E}">
        <p14:creationId xmlns:p14="http://schemas.microsoft.com/office/powerpoint/2010/main" val="6046297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108E7-0EC3-EA46-A59A-0EC62EA11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aljplan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157DF8-416E-E54A-ABD5-BF8BFB1FA1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926359"/>
            <a:ext cx="10515600" cy="959237"/>
          </a:xfrm>
        </p:spPr>
        <p:txBody>
          <a:bodyPr/>
          <a:lstStyle/>
          <a:p>
            <a:endParaRPr lang="nb-NO"/>
          </a:p>
          <a:p>
            <a:r>
              <a:rPr lang="nb-NO"/>
              <a:t>420 kV ledning. Skaidi og Hyggevatn transformatorstasjoner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103145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E6337DF-8499-6580-C9DB-C5652FCE1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aljplaner Skaidi - Hyggevat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DC34F35-7102-8731-E48F-297104C3B5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6863493" cy="4046468"/>
          </a:xfrm>
        </p:spPr>
        <p:txBody>
          <a:bodyPr vert="horz" lIns="91440" tIns="45720" rIns="91440" bIns="45720" numCol="1" spcCol="360000" rtlCol="0" anchor="t">
            <a:normAutofit lnSpcReduction="10000"/>
          </a:bodyPr>
          <a:lstStyle/>
          <a:p>
            <a:pPr>
              <a:defRPr/>
            </a:pPr>
            <a:r>
              <a:rPr lang="nb-NO" altLang="nb-NO" sz="2000">
                <a:latin typeface="Calibri Light"/>
                <a:cs typeface="Calibri Light"/>
              </a:rPr>
              <a:t>Detaljplan ( tidligere Miljø-, transport- og anleggsplan (MTA)) - myndighetsdel</a:t>
            </a:r>
          </a:p>
          <a:p>
            <a:pPr>
              <a:defRPr/>
            </a:pPr>
            <a:r>
              <a:rPr lang="nb-NO" altLang="nb-NO" sz="2000">
                <a:latin typeface="Calibri Light"/>
                <a:cs typeface="Calibri Light"/>
              </a:rPr>
              <a:t>Arealbruksplan/Construction and </a:t>
            </a:r>
            <a:r>
              <a:rPr lang="nb-NO" altLang="nb-NO" sz="2000" err="1">
                <a:latin typeface="Calibri Light"/>
                <a:cs typeface="Calibri Light"/>
              </a:rPr>
              <a:t>Environmental</a:t>
            </a:r>
            <a:r>
              <a:rPr lang="nb-NO" altLang="nb-NO" sz="2000">
                <a:latin typeface="Calibri Light"/>
                <a:cs typeface="Calibri Light"/>
              </a:rPr>
              <a:t> Management Plan (CEMP) - entreprenørdel</a:t>
            </a:r>
          </a:p>
          <a:p>
            <a:pPr>
              <a:defRPr/>
            </a:pPr>
            <a:r>
              <a:rPr lang="nb-NO" altLang="nb-NO">
                <a:latin typeface="Calibri Light"/>
                <a:cs typeface="Calibri Light"/>
              </a:rPr>
              <a:t>Utarbeidelse av en detaljplan er et konsesjonsvilkår</a:t>
            </a:r>
          </a:p>
          <a:p>
            <a:pPr>
              <a:defRPr/>
            </a:pPr>
            <a:r>
              <a:rPr lang="nb-NO" altLang="nb-NO">
                <a:latin typeface="Calibri Light"/>
                <a:cs typeface="Calibri Light"/>
              </a:rPr>
              <a:t> Arealbruksplan/CEMP inngår i anbudsgrunnlaget og er en del av kontrakten med entreprenøren</a:t>
            </a:r>
          </a:p>
          <a:p>
            <a:pPr>
              <a:defRPr/>
            </a:pPr>
            <a:r>
              <a:rPr lang="nb-NO" altLang="nb-NO">
                <a:latin typeface="Calibri Light"/>
                <a:cs typeface="Calibri Light"/>
              </a:rPr>
              <a:t>Detaljplanen er et verktøy for å sikre at anleggsarbeidet tar hensyn til ytre miljø og omgivelser, grunneiere, rettighetshavere og at arbeidet gjennomføres </a:t>
            </a:r>
            <a:r>
              <a:rPr lang="nb-NO" altLang="nb-NO" err="1">
                <a:latin typeface="Calibri Light"/>
                <a:cs typeface="Calibri Light"/>
              </a:rPr>
              <a:t>ihht</a:t>
            </a:r>
            <a:r>
              <a:rPr lang="nb-NO" altLang="nb-NO">
                <a:latin typeface="Calibri Light"/>
                <a:cs typeface="Calibri Light"/>
              </a:rPr>
              <a:t>. lovverk/regelverk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3224294B-87CC-0832-3CD7-07DB4D5F7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4845" y="394149"/>
            <a:ext cx="1552490" cy="2262254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CCA185AC-6EAD-BD3F-67F7-0D52806CB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3153" y="2037320"/>
            <a:ext cx="1594423" cy="2164278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8AC0D1A-297E-5E79-1557-603364F96C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93778" y="3548510"/>
            <a:ext cx="1646244" cy="2309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2220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>
            <a:extLst>
              <a:ext uri="{FF2B5EF4-FFF2-40B4-BE49-F238E27FC236}">
                <a16:creationId xmlns:a16="http://schemas.microsoft.com/office/drawing/2014/main" id="{9B8F3174-5E8B-670F-5206-EEE0A1890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564659"/>
            <a:ext cx="9554788" cy="526525"/>
          </a:xfrm>
        </p:spPr>
        <p:txBody>
          <a:bodyPr>
            <a:normAutofit fontScale="90000"/>
          </a:bodyPr>
          <a:lstStyle/>
          <a:p>
            <a:r>
              <a:rPr lang="nb-NO"/>
              <a:t>Status Detaljplan Hyggevat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AC4D5595-24A9-55BF-52EE-584FCCC44E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6216050" cy="4046468"/>
          </a:xfrm>
        </p:spPr>
        <p:txBody>
          <a:bodyPr>
            <a:normAutofit/>
          </a:bodyPr>
          <a:lstStyle/>
          <a:p>
            <a:r>
              <a:rPr lang="nb-NO"/>
              <a:t>Detaljplan oversendt NVE til behandling 15. februar</a:t>
            </a:r>
          </a:p>
          <a:p>
            <a:r>
              <a:rPr lang="nb-NO"/>
              <a:t>NVE har sendt planen på høring, høringsfrist 17. april, </a:t>
            </a:r>
            <a:r>
              <a:rPr lang="nb-NO">
                <a:hlinkClick r:id="rId2"/>
              </a:rPr>
              <a:t>Konsesjonssak – NVE</a:t>
            </a:r>
            <a:endParaRPr lang="nb-NO"/>
          </a:p>
          <a:p>
            <a:r>
              <a:rPr lang="nb-NO"/>
              <a:t>Naturvernforbundet og Statsforvalteren har fått utsatt høringsfrist til 25. april</a:t>
            </a:r>
          </a:p>
          <a:p>
            <a:r>
              <a:rPr lang="nb-NO"/>
              <a:t>NVE må konsultere reindrifta, frist til å avtale konsultasjon innen 17. april</a:t>
            </a:r>
          </a:p>
          <a:p>
            <a:r>
              <a:rPr lang="nb-NO"/>
              <a:t>Detaljplan må være godkjent før arbeidet kan igangsettes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4B1F32C-99B6-AAEE-7B6A-CB86EE7460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9598" y="840852"/>
            <a:ext cx="3443074" cy="4657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29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516F098-9802-4E89-4F68-DA8D760D5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Calibri Light"/>
                <a:cs typeface="Calibri Light"/>
              </a:rPr>
              <a:t>Detaljplankart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41787B8-B7A3-C55F-8E5A-B9B4141838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18221"/>
            <a:ext cx="2880232" cy="4053523"/>
          </a:xfrm>
        </p:spPr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Tilgjengelig på NVE sin hjemmeside</a:t>
            </a:r>
          </a:p>
          <a:p>
            <a:r>
              <a:rPr lang="nb-NO">
                <a:cs typeface="Calibri Light"/>
                <a:hlinkClick r:id="rId2"/>
              </a:rPr>
              <a:t>Konsesjonssak - NVE</a:t>
            </a:r>
            <a:endParaRPr lang="nb-NO">
              <a:cs typeface="Calibri Light"/>
            </a:endParaRPr>
          </a:p>
        </p:txBody>
      </p:sp>
      <p:pic>
        <p:nvPicPr>
          <p:cNvPr id="4" name="Bilde 3" descr="Et bilde som inneholder kart, tekst, atlas&#10;&#10;Automatisk generert beskrivelse">
            <a:extLst>
              <a:ext uri="{FF2B5EF4-FFF2-40B4-BE49-F238E27FC236}">
                <a16:creationId xmlns:a16="http://schemas.microsoft.com/office/drawing/2014/main" id="{E6D1869A-2BE5-F56A-A40D-33C621D923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8645" y="317500"/>
            <a:ext cx="4595991" cy="3231446"/>
          </a:xfrm>
          <a:prstGeom prst="rect">
            <a:avLst/>
          </a:prstGeom>
        </p:spPr>
      </p:pic>
      <p:pic>
        <p:nvPicPr>
          <p:cNvPr id="5" name="Bilde 4" descr="Et bilde som inneholder tekst, kart, atlas&#10;&#10;Automatisk generert beskrivelse">
            <a:extLst>
              <a:ext uri="{FF2B5EF4-FFF2-40B4-BE49-F238E27FC236}">
                <a16:creationId xmlns:a16="http://schemas.microsoft.com/office/drawing/2014/main" id="{0A83C31F-131D-B97F-BACC-33585746D0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7783" y="2758721"/>
            <a:ext cx="4259708" cy="2991556"/>
          </a:xfrm>
          <a:prstGeom prst="rect">
            <a:avLst/>
          </a:prstGeom>
        </p:spPr>
      </p:pic>
      <p:pic>
        <p:nvPicPr>
          <p:cNvPr id="6" name="Bilde 5" descr="Et bilde som inneholder tekst, kart, skjermbilde, diagram&#10;&#10;Automatisk generert beskrivelse">
            <a:extLst>
              <a:ext uri="{FF2B5EF4-FFF2-40B4-BE49-F238E27FC236}">
                <a16:creationId xmlns:a16="http://schemas.microsoft.com/office/drawing/2014/main" id="{043902EF-7096-69AA-1F82-E7C1E1A99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5165" y="3704165"/>
            <a:ext cx="2821449" cy="1947335"/>
          </a:xfrm>
          <a:prstGeom prst="rect">
            <a:avLst/>
          </a:prstGeom>
        </p:spPr>
      </p:pic>
      <p:pic>
        <p:nvPicPr>
          <p:cNvPr id="7" name="Bilde 6" descr="Et bilde som inneholder kart, tekst, atlas&#10;&#10;Automatisk generert beskrivelse">
            <a:extLst>
              <a:ext uri="{FF2B5EF4-FFF2-40B4-BE49-F238E27FC236}">
                <a16:creationId xmlns:a16="http://schemas.microsoft.com/office/drawing/2014/main" id="{A6B2A289-0E5D-118B-885C-125BEA8F04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2410" y="3704167"/>
            <a:ext cx="2819401" cy="1947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642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A94E05-2024-A656-B5FB-963B72D0C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altLang="nb-NO">
                <a:latin typeface="Times New Roman" panose="02020603050405020304" pitchFamily="18" charset="0"/>
                <a:cs typeface="Times New Roman" panose="02020603050405020304" pitchFamily="18" charset="0"/>
              </a:rPr>
              <a:t>Detaljplankrav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56E28D0-D8FC-FAEE-EEDF-2EE15A675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pPr lvl="1"/>
            <a:r>
              <a:rPr lang="nb-NO" altLang="nb-NO"/>
              <a:t>Miljøstyring i prosjektet, miljøkontroll</a:t>
            </a:r>
          </a:p>
          <a:p>
            <a:pPr lvl="1"/>
            <a:r>
              <a:rPr lang="nb-NO" altLang="nb-NO"/>
              <a:t>Forurensning og avfall</a:t>
            </a:r>
          </a:p>
          <a:p>
            <a:pPr lvl="1"/>
            <a:r>
              <a:rPr lang="nb-NO" altLang="nb-NO"/>
              <a:t>Naturmiljø</a:t>
            </a:r>
          </a:p>
          <a:p>
            <a:pPr lvl="1"/>
            <a:r>
              <a:rPr lang="nb-NO" altLang="nb-NO"/>
              <a:t>Kulturminner</a:t>
            </a:r>
          </a:p>
          <a:p>
            <a:pPr lvl="1"/>
            <a:r>
              <a:rPr lang="nb-NO" altLang="nb-NO"/>
              <a:t>Friluftsliv</a:t>
            </a:r>
          </a:p>
          <a:p>
            <a:pPr lvl="1"/>
            <a:r>
              <a:rPr lang="nb-NO" altLang="nb-NO"/>
              <a:t>Reindrift</a:t>
            </a:r>
          </a:p>
          <a:p>
            <a:pPr lvl="1"/>
            <a:r>
              <a:rPr lang="nb-NO" altLang="nb-NO" err="1"/>
              <a:t>Terrengsskade</a:t>
            </a:r>
            <a:r>
              <a:rPr lang="nb-NO" altLang="nb-NO"/>
              <a:t> og istandsetting</a:t>
            </a:r>
          </a:p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D9B7931-57EF-56C8-7210-4968DE2E0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1330" y="797614"/>
            <a:ext cx="3310206" cy="471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6619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3EEF5B5-CE33-D9E9-E93F-1F666C8C6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/>
              <a:t>Ivareta sikkerhet for 3. part 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221E9DE-4EA3-29EA-F460-6EC3C8F6EF9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 sz="2400"/>
              <a:t>Turløyper, skiløyper, hundeløyper mm.</a:t>
            </a:r>
          </a:p>
          <a:p>
            <a:pPr>
              <a:spcAft>
                <a:spcPts val="600"/>
              </a:spcAft>
            </a:pPr>
            <a:r>
              <a:rPr lang="nb-NO" sz="2400"/>
              <a:t>Utfartsområder</a:t>
            </a:r>
          </a:p>
          <a:p>
            <a:pPr>
              <a:spcAft>
                <a:spcPts val="600"/>
              </a:spcAft>
            </a:pPr>
            <a:r>
              <a:rPr lang="nb-NO" sz="2400"/>
              <a:t>Parkeringsplasser</a:t>
            </a:r>
          </a:p>
          <a:p>
            <a:pPr>
              <a:spcAft>
                <a:spcPts val="600"/>
              </a:spcAft>
            </a:pPr>
            <a:r>
              <a:rPr lang="nb-NO" sz="2400"/>
              <a:t>Hytteområder</a:t>
            </a:r>
          </a:p>
          <a:p>
            <a:pPr>
              <a:spcAft>
                <a:spcPts val="600"/>
              </a:spcAft>
            </a:pPr>
            <a:endParaRPr lang="nb-NO" sz="2400"/>
          </a:p>
          <a:p>
            <a:pPr marL="0" indent="0">
              <a:spcAft>
                <a:spcPts val="600"/>
              </a:spcAft>
              <a:buNone/>
            </a:pPr>
            <a:r>
              <a:rPr lang="nb-NO" sz="2400"/>
              <a:t>Kan være behov for stenging i kortere perioder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nb-NO" sz="2400"/>
              <a:t>Evt. skader på løyper og veier vil utbedres</a:t>
            </a:r>
          </a:p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50233B3-DE02-83DB-E6CB-7E138F217C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3564" y="445324"/>
            <a:ext cx="2927075" cy="2619090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DB81C0C2-8D7F-95E3-304E-41EFEB59DA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35537" y="3115558"/>
            <a:ext cx="3705102" cy="2466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999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17F6BE15-96D2-0F76-0A1D-9F5FC51BF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: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BE8E5E03-70EC-9172-6314-6B7797DADB3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Om Statnett v/ Jacob Grønn prosjektleder</a:t>
            </a:r>
          </a:p>
          <a:p>
            <a:r>
              <a:rPr lang="nb-NO">
                <a:latin typeface="Calibri Light"/>
                <a:cs typeface="Calibri Light"/>
              </a:rPr>
              <a:t>420 kV Skaidi- Hammerfest v/ Jacob Grønn, prosjektleder</a:t>
            </a:r>
          </a:p>
          <a:p>
            <a:r>
              <a:rPr lang="nb-NO">
                <a:latin typeface="Calibri Light"/>
                <a:cs typeface="Calibri Light"/>
              </a:rPr>
              <a:t>Detaljplan v/ Svein Gunnar </a:t>
            </a:r>
            <a:r>
              <a:rPr lang="nb-NO" err="1">
                <a:latin typeface="Calibri Light"/>
                <a:cs typeface="Calibri Light"/>
              </a:rPr>
              <a:t>Barbo</a:t>
            </a:r>
            <a:r>
              <a:rPr lang="nb-NO">
                <a:latin typeface="Calibri Light"/>
                <a:cs typeface="Calibri Light"/>
              </a:rPr>
              <a:t>, Areal- og miljørådgiver</a:t>
            </a:r>
          </a:p>
          <a:p>
            <a:r>
              <a:rPr lang="nb-NO">
                <a:latin typeface="Calibri Light"/>
                <a:cs typeface="Calibri Light"/>
              </a:rPr>
              <a:t>Grunn- og rettighetserverv v/Espen </a:t>
            </a:r>
            <a:r>
              <a:rPr lang="nb-NO" err="1">
                <a:latin typeface="Calibri Light"/>
                <a:cs typeface="Calibri Light"/>
              </a:rPr>
              <a:t>Valli</a:t>
            </a:r>
            <a:r>
              <a:rPr lang="nb-NO">
                <a:latin typeface="Calibri Light"/>
                <a:cs typeface="Calibri Light"/>
              </a:rPr>
              <a:t> Viken, </a:t>
            </a:r>
            <a:r>
              <a:rPr lang="nb-NO" err="1">
                <a:latin typeface="Calibri Light"/>
                <a:cs typeface="Calibri Light"/>
              </a:rPr>
              <a:t>grunnerverver</a:t>
            </a:r>
          </a:p>
        </p:txBody>
      </p:sp>
    </p:spTree>
    <p:extLst>
      <p:ext uri="{BB962C8B-B14F-4D97-AF65-F5344CB8AC3E}">
        <p14:creationId xmlns:p14="http://schemas.microsoft.com/office/powerpoint/2010/main" val="27974432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5D4B6FF-309E-6B7E-34CA-3FB604DCF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øyende aktivitet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DEA2E1B-3A0C-3940-E172-062D0551F1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6709113" cy="4046468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Generelle regler med hensyn til støy</a:t>
            </a:r>
          </a:p>
          <a:p>
            <a:r>
              <a:rPr lang="nb-NO"/>
              <a:t>Helikopterflyging</a:t>
            </a:r>
          </a:p>
          <a:p>
            <a:pPr marL="685800" lvl="2">
              <a:spcBef>
                <a:spcPts val="1000"/>
              </a:spcBef>
            </a:pPr>
            <a:r>
              <a:rPr lang="nb-NO" sz="1800"/>
              <a:t>Mye flyging med hensyn til </a:t>
            </a:r>
            <a:r>
              <a:rPr lang="nb-NO" sz="1800" err="1"/>
              <a:t>støping</a:t>
            </a:r>
            <a:r>
              <a:rPr lang="nb-NO" sz="1800"/>
              <a:t>, mastemontering og linestrekking</a:t>
            </a:r>
          </a:p>
          <a:p>
            <a:endParaRPr lang="nb-NO"/>
          </a:p>
          <a:p>
            <a:r>
              <a:rPr lang="nb-NO"/>
              <a:t>Lineskjøting</a:t>
            </a:r>
          </a:p>
          <a:p>
            <a:pPr lvl="1"/>
            <a:r>
              <a:rPr lang="nb-NO"/>
              <a:t>Vil varsles med annonsering i lokalmedia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ECFCD66-D874-3D21-EEAB-77ABA2F72E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8195" y="1389099"/>
            <a:ext cx="2405436" cy="415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118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F5AC436-9F00-02B8-D2F6-AE2EBF7C1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estriksjon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AE46A97-4DFC-69E2-5E39-C754371B25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6" y="1525276"/>
            <a:ext cx="5602940" cy="4046468"/>
          </a:xfrm>
        </p:spPr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Reindrift</a:t>
            </a:r>
            <a:endParaRPr lang="nb-NO"/>
          </a:p>
          <a:p>
            <a:pPr marL="685800" lvl="2">
              <a:spcBef>
                <a:spcPts val="1000"/>
              </a:spcBef>
            </a:pPr>
            <a:r>
              <a:rPr lang="nb-NO" sz="1800">
                <a:latin typeface="Calibri Light"/>
                <a:cs typeface="Calibri Light"/>
              </a:rPr>
              <a:t>Omfattende anleggsrestriksjoner (anleggstans) tar hensyn til de mest sårbare periodene og områdene for reindriftens bruk (kalving, flytting, svømming, oppsamling og bruk av gjerdeanlegg)</a:t>
            </a:r>
          </a:p>
          <a:p>
            <a:pPr marL="457200" lvl="2" indent="0">
              <a:buNone/>
            </a:pPr>
            <a:endParaRPr lang="nb-NO" sz="1800">
              <a:latin typeface="Calibri Light"/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Kulturminner</a:t>
            </a:r>
          </a:p>
          <a:p>
            <a:r>
              <a:rPr lang="nb-NO">
                <a:latin typeface="Calibri Light"/>
                <a:cs typeface="Calibri Light"/>
              </a:rPr>
              <a:t>Evt. </a:t>
            </a:r>
            <a:r>
              <a:rPr lang="nb-NO" err="1">
                <a:latin typeface="Calibri Light"/>
                <a:cs typeface="Calibri Light"/>
              </a:rPr>
              <a:t>rovfuglrestriksjoner</a:t>
            </a:r>
            <a:endParaRPr lang="nb-NO">
              <a:latin typeface="Calibri Light"/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Vann og drikkevann, kartlegging av vannkilder</a:t>
            </a:r>
          </a:p>
          <a:p>
            <a:pPr marL="0" indent="0">
              <a:buNone/>
            </a:pPr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00D00D96-8BDF-C953-9BFE-F1B2B9B982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3916" y="1616998"/>
            <a:ext cx="4988280" cy="3197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1584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B56F18-1180-B61F-B7B9-0D7B5F0E2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errenginngrep og istandsetting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7EAB0AA-03CD-D159-0635-155068C917B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Mål: </a:t>
            </a:r>
            <a:r>
              <a:rPr lang="nb-NO" altLang="nb-NO">
                <a:latin typeface="Calibri Light"/>
                <a:cs typeface="Calibri Light"/>
              </a:rPr>
              <a:t>Redusere visuelle inntrykk og skade på terreng og vegetasjon</a:t>
            </a:r>
            <a:endParaRPr lang="nb-NO" altLang="nb-NO">
              <a:cs typeface="Calibri Light"/>
            </a:endParaRPr>
          </a:p>
          <a:p>
            <a:pPr>
              <a:defRPr/>
            </a:pPr>
            <a:r>
              <a:rPr lang="nb-NO" altLang="nb-NO">
                <a:latin typeface="Calibri Light"/>
                <a:cs typeface="Calibri Light"/>
              </a:rPr>
              <a:t>Begrense areal som benyttes under arbeid</a:t>
            </a:r>
          </a:p>
          <a:p>
            <a:pPr>
              <a:defRPr/>
            </a:pPr>
            <a:r>
              <a:rPr lang="nb-NO" altLang="nb-NO">
                <a:latin typeface="Calibri Light"/>
                <a:cs typeface="Calibri Light"/>
              </a:rPr>
              <a:t>Ta vare på toppjord for istandsetting</a:t>
            </a:r>
          </a:p>
          <a:p>
            <a:pPr>
              <a:defRPr/>
            </a:pPr>
            <a:r>
              <a:rPr lang="nb-NO" altLang="nb-NO" err="1">
                <a:latin typeface="Calibri Light"/>
                <a:cs typeface="Calibri Light"/>
              </a:rPr>
              <a:t>Tilbakefylling</a:t>
            </a:r>
            <a:r>
              <a:rPr lang="nb-NO" altLang="nb-NO">
                <a:latin typeface="Calibri Light"/>
                <a:cs typeface="Calibri Light"/>
              </a:rPr>
              <a:t> etter ferdigstilling av fundament</a:t>
            </a:r>
          </a:p>
          <a:p>
            <a:pPr>
              <a:defRPr/>
            </a:pPr>
            <a:endParaRPr lang="nb-NO" altLang="nb-NO"/>
          </a:p>
          <a:p>
            <a:endParaRPr lang="nb-NO"/>
          </a:p>
        </p:txBody>
      </p:sp>
      <p:pic>
        <p:nvPicPr>
          <p:cNvPr id="4" name="Plassholder for innhold 6">
            <a:extLst>
              <a:ext uri="{FF2B5EF4-FFF2-40B4-BE49-F238E27FC236}">
                <a16:creationId xmlns:a16="http://schemas.microsoft.com/office/drawing/2014/main" id="{CFF0E9E9-951F-BBC1-DA62-817C312DB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741" y="3371217"/>
            <a:ext cx="3425341" cy="2210714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A4EC255A-10CE-EAE5-D4FC-B19FE1A1A7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2669" y="3364040"/>
            <a:ext cx="1832688" cy="220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8123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8D4D933-9A33-7710-268B-F60C32CAF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altLang="nb-NO"/>
              <a:t>Terrengrestaurering / istandsetting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A7E6659-425C-CEF4-8988-EE11FEC8B0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888621" y="2246873"/>
            <a:ext cx="9554788" cy="4046468"/>
          </a:xfrm>
        </p:spPr>
        <p:txBody>
          <a:bodyPr/>
          <a:lstStyle/>
          <a:p>
            <a:endParaRPr lang="nb-NO"/>
          </a:p>
        </p:txBody>
      </p:sp>
      <p:grpSp>
        <p:nvGrpSpPr>
          <p:cNvPr id="4" name="Gruppe 14">
            <a:extLst>
              <a:ext uri="{FF2B5EF4-FFF2-40B4-BE49-F238E27FC236}">
                <a16:creationId xmlns:a16="http://schemas.microsoft.com/office/drawing/2014/main" id="{450DA48E-6374-C6CC-E2EC-6B2A2915E25B}"/>
              </a:ext>
            </a:extLst>
          </p:cNvPr>
          <p:cNvGrpSpPr>
            <a:grpSpLocks/>
          </p:cNvGrpSpPr>
          <p:nvPr/>
        </p:nvGrpSpPr>
        <p:grpSpPr bwMode="auto">
          <a:xfrm>
            <a:off x="1888621" y="1746146"/>
            <a:ext cx="7957072" cy="3974426"/>
            <a:chOff x="251520" y="1153240"/>
            <a:chExt cx="8673548" cy="5332023"/>
          </a:xfrm>
        </p:grpSpPr>
        <p:pic>
          <p:nvPicPr>
            <p:cNvPr id="5" name="Bilde 15">
              <a:extLst>
                <a:ext uri="{FF2B5EF4-FFF2-40B4-BE49-F238E27FC236}">
                  <a16:creationId xmlns:a16="http://schemas.microsoft.com/office/drawing/2014/main" id="{447C7B7C-7B8F-6697-F153-C43CB8875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1153240"/>
              <a:ext cx="3950842" cy="2616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Bilde 16">
              <a:extLst>
                <a:ext uri="{FF2B5EF4-FFF2-40B4-BE49-F238E27FC236}">
                  <a16:creationId xmlns:a16="http://schemas.microsoft.com/office/drawing/2014/main" id="{87745C10-BE9B-D8C2-F792-30F2ED0CD46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5976" y="1176579"/>
              <a:ext cx="4569092" cy="2570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Bilde 17">
              <a:extLst>
                <a:ext uri="{FF2B5EF4-FFF2-40B4-BE49-F238E27FC236}">
                  <a16:creationId xmlns:a16="http://schemas.microsoft.com/office/drawing/2014/main" id="{668A8424-68A7-8B17-7303-05A90C6694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322" y="3926236"/>
              <a:ext cx="3863629" cy="25590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Bilde 18">
              <a:extLst>
                <a:ext uri="{FF2B5EF4-FFF2-40B4-BE49-F238E27FC236}">
                  <a16:creationId xmlns:a16="http://schemas.microsoft.com/office/drawing/2014/main" id="{2E22D1AA-A323-4065-3F25-22C6560A53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5976" y="3925345"/>
              <a:ext cx="3413224" cy="2559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Rett pil 19">
              <a:extLst>
                <a:ext uri="{FF2B5EF4-FFF2-40B4-BE49-F238E27FC236}">
                  <a16:creationId xmlns:a16="http://schemas.microsoft.com/office/drawing/2014/main" id="{159A1F61-A81C-9A60-2632-8A1F7BBDBA7A}"/>
                </a:ext>
              </a:extLst>
            </p:cNvPr>
            <p:cNvCxnSpPr/>
            <p:nvPr/>
          </p:nvCxnSpPr>
          <p:spPr>
            <a:xfrm>
              <a:off x="4067627" y="2348541"/>
              <a:ext cx="431773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Rett pil 20">
              <a:extLst>
                <a:ext uri="{FF2B5EF4-FFF2-40B4-BE49-F238E27FC236}">
                  <a16:creationId xmlns:a16="http://schemas.microsoft.com/office/drawing/2014/main" id="{5022535C-32A8-000D-677B-53555F419196}"/>
                </a:ext>
              </a:extLst>
            </p:cNvPr>
            <p:cNvCxnSpPr/>
            <p:nvPr/>
          </p:nvCxnSpPr>
          <p:spPr>
            <a:xfrm>
              <a:off x="4067627" y="5229642"/>
              <a:ext cx="431773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39359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7791F6E-03DF-6C5C-47E8-332FE485E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/>
              <a:t>Veier og </a:t>
            </a:r>
            <a:r>
              <a:rPr lang="nb-NO" err="1"/>
              <a:t>baseplasser</a:t>
            </a:r>
            <a:r>
              <a:rPr lang="nb-NO"/>
              <a:t> – utbedring, vedlikehold og opparbeidels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9A6016D-9D85-E044-98D6-07EFBAA2D8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7" y="1525276"/>
            <a:ext cx="7711094" cy="4046468"/>
          </a:xfrm>
        </p:spPr>
        <p:txBody>
          <a:bodyPr vert="horz" lIns="91440" tIns="45720" rIns="91440" bIns="45720" numCol="1" spcCol="360000" rtlCol="0" anchor="t">
            <a:normAutofit fontScale="55000" lnSpcReduction="20000"/>
          </a:bodyPr>
          <a:lstStyle/>
          <a:p>
            <a:pPr>
              <a:defRPr/>
            </a:pPr>
            <a:r>
              <a:rPr lang="nb-NO" altLang="nb-NO" sz="2500" b="1">
                <a:latin typeface="Calibri Light"/>
                <a:cs typeface="Calibri Light"/>
              </a:rPr>
              <a:t>Veier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Permanent - Kun hvis konsesjonssøkt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Midlertidig -  Hvis tiltaket er oppgitt som midlertidig i detaljplanen skal det fjernes etter endt arbeid</a:t>
            </a:r>
          </a:p>
          <a:p>
            <a:pPr marL="457200" lvl="1" indent="0">
              <a:buFont typeface="Wingdings" panose="05000000000000000000" pitchFamily="2" charset="2"/>
              <a:buNone/>
              <a:defRPr/>
            </a:pPr>
            <a:endParaRPr lang="nb-NO" altLang="nb-NO"/>
          </a:p>
          <a:p>
            <a:pPr>
              <a:defRPr/>
            </a:pPr>
            <a:r>
              <a:rPr lang="nb-NO" altLang="nb-NO" sz="2600" b="1">
                <a:latin typeface="Calibri Light"/>
                <a:cs typeface="Calibri Light"/>
              </a:rPr>
              <a:t>Opprusting/utbedring eksisterende veier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Detaljplan gir tillatelse til opprusting og utbedring av eksisterende veier (</a:t>
            </a:r>
            <a:r>
              <a:rPr lang="nb-NO" altLang="nb-NO" err="1">
                <a:latin typeface="Calibri Light"/>
                <a:cs typeface="Calibri Light"/>
              </a:rPr>
              <a:t>oppgrusing</a:t>
            </a:r>
            <a:r>
              <a:rPr lang="nb-NO" altLang="nb-NO">
                <a:latin typeface="Calibri Light"/>
                <a:cs typeface="Calibri Light"/>
              </a:rPr>
              <a:t>, stikkrenner osv.)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Nødvendig vedlikehold i anleggsperioden. Veier skal være i minst like god stand etter anleggsfasen</a:t>
            </a:r>
          </a:p>
          <a:p>
            <a:pPr lvl="1">
              <a:defRPr/>
            </a:pPr>
            <a:r>
              <a:rPr lang="nb-NO" sz="2400">
                <a:latin typeface="Calibri Light"/>
                <a:cs typeface="Calibri Light"/>
              </a:rPr>
              <a:t>Slitasje på enkelte veier vil kunne forekomme i intensive anleggsperioder og/eller ved fuktige perioder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Men: strenge krav til entreprenør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Krav om istandsetting etter endt arbeid</a:t>
            </a:r>
          </a:p>
          <a:p>
            <a:pPr lvl="1">
              <a:defRPr/>
            </a:pPr>
            <a:endParaRPr lang="nb-NO" altLang="nb-NO"/>
          </a:p>
          <a:p>
            <a:pPr>
              <a:defRPr/>
            </a:pPr>
            <a:r>
              <a:rPr lang="nb-NO" altLang="nb-NO" sz="2600" b="1">
                <a:latin typeface="Calibri Light"/>
                <a:cs typeface="Calibri Light"/>
              </a:rPr>
              <a:t>Opparbeidelse av </a:t>
            </a:r>
            <a:r>
              <a:rPr lang="nb-NO" altLang="nb-NO" sz="2600" b="1" err="1">
                <a:latin typeface="Calibri Light"/>
                <a:cs typeface="Calibri Light"/>
              </a:rPr>
              <a:t>baseplasser</a:t>
            </a:r>
            <a:endParaRPr lang="nb-NO" altLang="nb-NO" sz="2600" b="1">
              <a:latin typeface="Calibri Light"/>
              <a:cs typeface="Calibri Light"/>
            </a:endParaRP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Alle </a:t>
            </a:r>
            <a:r>
              <a:rPr lang="nb-NO" altLang="nb-NO" err="1">
                <a:latin typeface="Calibri Light"/>
                <a:cs typeface="Calibri Light"/>
              </a:rPr>
              <a:t>baseplasser</a:t>
            </a:r>
            <a:r>
              <a:rPr lang="nb-NO" altLang="nb-NO">
                <a:latin typeface="Calibri Light"/>
                <a:cs typeface="Calibri Light"/>
              </a:rPr>
              <a:t> skal etableres som midlertidige og tilbakeføres etter endt arbeid</a:t>
            </a:r>
          </a:p>
          <a:p>
            <a:pPr lvl="1">
              <a:defRPr/>
            </a:pPr>
            <a:r>
              <a:rPr lang="nb-NO" altLang="nb-NO">
                <a:latin typeface="Calibri Light"/>
                <a:cs typeface="Calibri Light"/>
              </a:rPr>
              <a:t>Unntak er dersom grunneier/kommune har sikret nødvendig offentlig tillatelse etter annet lovverk (plan- og bygningsloven)</a:t>
            </a:r>
          </a:p>
          <a:p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A48924F-B870-F945-23B3-06381B2F10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6950" y="3744225"/>
            <a:ext cx="3422992" cy="1837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9115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55103F-016F-7754-6859-ED7D41C1C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Calibri Light"/>
                <a:cs typeface="Calibri Light"/>
              </a:rPr>
              <a:t>Massedeponier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FD47EEF-E6FE-D2CA-5A91-52AA90DF939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Hyggevatn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nb-NO" sz="1400">
                <a:latin typeface="Calibri Light"/>
                <a:cs typeface="Calibri Light"/>
              </a:rPr>
              <a:t>Polarbase, Rypefjord. Evt. Noe hos </a:t>
            </a:r>
            <a:r>
              <a:rPr lang="nb-NO" sz="1400" err="1">
                <a:latin typeface="Calibri Light"/>
                <a:cs typeface="Calibri Light"/>
              </a:rPr>
              <a:t>Equinor</a:t>
            </a:r>
            <a:r>
              <a:rPr lang="nb-NO" sz="1400">
                <a:latin typeface="Calibri Light"/>
                <a:cs typeface="Calibri Light"/>
              </a:rPr>
              <a:t> på Meland</a:t>
            </a:r>
            <a:endParaRPr lang="nb-NO" sz="1400">
              <a:cs typeface="Calibri Light"/>
            </a:endParaRPr>
          </a:p>
        </p:txBody>
      </p:sp>
      <p:pic>
        <p:nvPicPr>
          <p:cNvPr id="4" name="Bilde 3" descr="Et bilde som inneholder kart, tekst&#10;&#10;Automatisk generert beskrivelse">
            <a:extLst>
              <a:ext uri="{FF2B5EF4-FFF2-40B4-BE49-F238E27FC236}">
                <a16:creationId xmlns:a16="http://schemas.microsoft.com/office/drawing/2014/main" id="{9F864366-57D7-D401-0966-00CE617E2F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6144" y="2417057"/>
            <a:ext cx="3960989" cy="3166886"/>
          </a:xfrm>
          <a:prstGeom prst="rect">
            <a:avLst/>
          </a:prstGeom>
        </p:spPr>
      </p:pic>
      <p:pic>
        <p:nvPicPr>
          <p:cNvPr id="5" name="Bilde 4" descr="Et bilde som inneholder utendørs, tre, gress, grunn&#10;&#10;Automatisk generert beskrivelse">
            <a:extLst>
              <a:ext uri="{FF2B5EF4-FFF2-40B4-BE49-F238E27FC236}">
                <a16:creationId xmlns:a16="http://schemas.microsoft.com/office/drawing/2014/main" id="{913D9D72-FF9F-03E0-90CE-D93838CB9C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2066" y="274462"/>
            <a:ext cx="4866923" cy="2492023"/>
          </a:xfrm>
          <a:prstGeom prst="rect">
            <a:avLst/>
          </a:prstGeom>
        </p:spPr>
      </p:pic>
      <p:pic>
        <p:nvPicPr>
          <p:cNvPr id="6" name="Bilde 5" descr="Et bilde som inneholder utendørs, fjell, Flyfoto, gress&#10;&#10;Automatisk generert beskrivelse">
            <a:extLst>
              <a:ext uri="{FF2B5EF4-FFF2-40B4-BE49-F238E27FC236}">
                <a16:creationId xmlns:a16="http://schemas.microsoft.com/office/drawing/2014/main" id="{A90BC1B2-E91A-E248-06BC-5C27242E27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9597" y="2825220"/>
            <a:ext cx="4857751" cy="2929115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8FA32237-685F-122B-5CFD-6D151FE2D039}"/>
              </a:ext>
            </a:extLst>
          </p:cNvPr>
          <p:cNvSpPr txBox="1"/>
          <p:nvPr/>
        </p:nvSpPr>
        <p:spPr>
          <a:xfrm>
            <a:off x="10312400" y="1972733"/>
            <a:ext cx="165664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indent="-228600">
              <a:buFont typeface=""/>
              <a:buChar char="•"/>
            </a:pPr>
            <a:r>
              <a:rPr lang="nb-NO" sz="2200">
                <a:solidFill>
                  <a:schemeClr val="bg1"/>
                </a:solidFill>
                <a:latin typeface="Calibri Light"/>
                <a:cs typeface="Arial"/>
              </a:rPr>
              <a:t>Skaidi</a:t>
            </a:r>
          </a:p>
          <a:p>
            <a:pPr marL="228600" lvl="1" indent="-228600">
              <a:buFont typeface="Courier New,monospace"/>
              <a:buChar char="o"/>
            </a:pPr>
            <a:r>
              <a:rPr lang="nb-NO" sz="1400" err="1">
                <a:solidFill>
                  <a:schemeClr val="bg1"/>
                </a:solidFill>
                <a:latin typeface="Calibri Light"/>
                <a:cs typeface="Arial"/>
              </a:rPr>
              <a:t>Repparfjordsletta</a:t>
            </a:r>
            <a:endParaRPr lang="nb-NO" err="1">
              <a:solidFill>
                <a:schemeClr val="bg1"/>
              </a:solidFill>
              <a:cs typeface="Calibri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2C81C8AD-E377-A4A9-C277-0EDB968E5433}"/>
              </a:ext>
            </a:extLst>
          </p:cNvPr>
          <p:cNvSpPr txBox="1"/>
          <p:nvPr/>
        </p:nvSpPr>
        <p:spPr>
          <a:xfrm>
            <a:off x="7454900" y="3009900"/>
            <a:ext cx="2743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28600" indent="-228600">
              <a:buFont typeface=""/>
              <a:buChar char="•"/>
            </a:pPr>
            <a:r>
              <a:rPr lang="nb-NO" sz="2200">
                <a:solidFill>
                  <a:schemeClr val="bg1"/>
                </a:solidFill>
                <a:latin typeface="Calibri Light"/>
                <a:cs typeface="Arial"/>
              </a:rPr>
              <a:t>Skaidi</a:t>
            </a:r>
          </a:p>
          <a:p>
            <a:pPr marL="228600" lvl="1" indent="-228600">
              <a:buFont typeface="Courier New,monospace"/>
              <a:buChar char="o"/>
            </a:pPr>
            <a:r>
              <a:rPr lang="nb-NO" sz="1400">
                <a:solidFill>
                  <a:schemeClr val="bg1"/>
                </a:solidFill>
                <a:latin typeface="Calibri Light"/>
                <a:cs typeface="Arial"/>
              </a:rPr>
              <a:t>Skaidisletta</a:t>
            </a:r>
            <a:endParaRPr lang="nb-NO" err="1">
              <a:solidFill>
                <a:schemeClr val="bg1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10983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BC7A7AA-FFEB-D6B9-2607-076A057C2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latin typeface="Calibri Light"/>
                <a:cs typeface="Calibri Light"/>
              </a:rPr>
              <a:t>Trafotransport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1D49EED-3B6B-3CCD-2AB1-C6F69B1B4A22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Hyggevatn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nb-NO">
                <a:latin typeface="Calibri Light"/>
                <a:cs typeface="Calibri Light"/>
              </a:rPr>
              <a:t>Fugleneset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nb-NO">
              <a:cs typeface="Calibri Light"/>
            </a:endParaRPr>
          </a:p>
          <a:p>
            <a:r>
              <a:rPr lang="nb-NO">
                <a:latin typeface="Calibri Light"/>
                <a:cs typeface="Calibri Light"/>
              </a:rPr>
              <a:t>Skaidi</a:t>
            </a:r>
          </a:p>
          <a:p>
            <a:pPr lvl="1">
              <a:buFont typeface="Courier New" panose="020B0604020202020204" pitchFamily="34" charset="0"/>
              <a:buChar char="o"/>
            </a:pPr>
            <a:r>
              <a:rPr lang="nb-NO">
                <a:latin typeface="Calibri Light"/>
                <a:cs typeface="Calibri Light"/>
              </a:rPr>
              <a:t>Kvalsundet? Utredes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nb-NO">
              <a:cs typeface="Calibri Light"/>
            </a:endParaRPr>
          </a:p>
          <a:p>
            <a:pPr lvl="1">
              <a:buFont typeface="Courier New" panose="020B0604020202020204" pitchFamily="34" charset="0"/>
              <a:buChar char="o"/>
            </a:pPr>
            <a:endParaRPr lang="nb-NO">
              <a:cs typeface="Calibri Light"/>
            </a:endParaRPr>
          </a:p>
          <a:p>
            <a:pPr marL="228600" lvl="1">
              <a:spcBef>
                <a:spcPts val="1000"/>
              </a:spcBef>
            </a:pPr>
            <a:r>
              <a:rPr lang="nb-NO" sz="2200">
                <a:latin typeface="Calibri Light"/>
                <a:cs typeface="Calibri Light"/>
              </a:rPr>
              <a:t>Lengde på transport: 72 m</a:t>
            </a:r>
          </a:p>
        </p:txBody>
      </p:sp>
      <p:pic>
        <p:nvPicPr>
          <p:cNvPr id="4" name="Bilde 3" descr="Et bilde som inneholder kjøretøy, Landkjøretøy, transport, hjul&#10;&#10;Automatisk generert beskrivelse">
            <a:extLst>
              <a:ext uri="{FF2B5EF4-FFF2-40B4-BE49-F238E27FC236}">
                <a16:creationId xmlns:a16="http://schemas.microsoft.com/office/drawing/2014/main" id="{5ED19721-A9D1-94F3-667A-4613035B5F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8744" y="1545166"/>
            <a:ext cx="6375401" cy="376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9790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8E0CAB-60A5-B353-93D6-9D0741DD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9554788" cy="864027"/>
          </a:xfrm>
        </p:spPr>
        <p:txBody>
          <a:bodyPr anchor="b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 </a:t>
            </a:r>
            <a:r>
              <a:rPr lang="nb-NO" b="1">
                <a:latin typeface="Calibri Light"/>
                <a:cs typeface="Calibri Light"/>
              </a:rPr>
              <a:t>Grunn- og Rettighetserverv</a:t>
            </a:r>
          </a:p>
        </p:txBody>
      </p:sp>
      <p:pic>
        <p:nvPicPr>
          <p:cNvPr id="4" name="Bilde 3" descr="Et bilde som inneholder utendørs, himmel, bakke, snø&#10;&#10;Automatisk generert beskrivelse">
            <a:extLst>
              <a:ext uri="{FF2B5EF4-FFF2-40B4-BE49-F238E27FC236}">
                <a16:creationId xmlns:a16="http://schemas.microsoft.com/office/drawing/2014/main" id="{08291A33-ECC0-BD00-BADC-46502032F4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057"/>
          <a:stretch/>
        </p:blipFill>
        <p:spPr>
          <a:xfrm>
            <a:off x="1318607" y="1528943"/>
            <a:ext cx="9554787" cy="404058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667511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7B1D59-5921-166A-435F-87FDFC0F5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400" b="1">
                <a:solidFill>
                  <a:srgbClr val="414042"/>
                </a:solidFill>
                <a:latin typeface="Arial"/>
                <a:cs typeface="Arial"/>
              </a:rPr>
              <a:t>Grunnervervsprosessen</a:t>
            </a:r>
            <a:endParaRPr lang="nb-NO" b="1">
              <a:cs typeface="Calibri Light"/>
            </a:endParaRPr>
          </a:p>
        </p:txBody>
      </p:sp>
      <p:pic>
        <p:nvPicPr>
          <p:cNvPr id="4" name="Plassholder for innhold 3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AC07311A-C292-20B5-0CB6-4E91E6ABF95C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1628500" y="1528943"/>
            <a:ext cx="8935000" cy="4040583"/>
          </a:xfrm>
        </p:spPr>
      </p:pic>
    </p:spTree>
    <p:extLst>
      <p:ext uri="{BB962C8B-B14F-4D97-AF65-F5344CB8AC3E}">
        <p14:creationId xmlns:p14="http://schemas.microsoft.com/office/powerpoint/2010/main" val="20258958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D78404E-A76E-4102-E50A-89067EDA5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b="1">
                <a:solidFill>
                  <a:srgbClr val="414042"/>
                </a:solidFill>
                <a:latin typeface="Arial"/>
                <a:cs typeface="Arial"/>
              </a:rPr>
              <a:t>Hvilke tillatelser får Statnett?</a:t>
            </a:r>
            <a:endParaRPr lang="nb-NO" b="1"/>
          </a:p>
        </p:txBody>
      </p:sp>
      <p:pic>
        <p:nvPicPr>
          <p:cNvPr id="4" name="Plassholder for innhold 3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9BF31A6E-4D70-50F8-452C-2B54533BEB91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1683169" y="1528943"/>
            <a:ext cx="8825662" cy="4040583"/>
          </a:xfrm>
        </p:spPr>
      </p:pic>
    </p:spTree>
    <p:extLst>
      <p:ext uri="{BB962C8B-B14F-4D97-AF65-F5344CB8AC3E}">
        <p14:creationId xmlns:p14="http://schemas.microsoft.com/office/powerpoint/2010/main" val="6728977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0D423557-67D4-B60E-3F94-1D011B37661D}"/>
              </a:ext>
            </a:extLst>
          </p:cNvPr>
          <p:cNvSpPr/>
          <p:nvPr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B98DC43-1AF9-958A-62F1-61D3C940D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1056" y="3104912"/>
            <a:ext cx="5084324" cy="820010"/>
          </a:xfrm>
        </p:spPr>
        <p:txBody>
          <a:bodyPr>
            <a:normAutofit/>
          </a:bodyPr>
          <a:lstStyle/>
          <a:p>
            <a:r>
              <a:rPr lang="nb-NO" sz="3600" b="1">
                <a:solidFill>
                  <a:schemeClr val="bg1"/>
                </a:solidFill>
              </a:rPr>
              <a:t>Statnetts oppdrag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BA7D678-E9A6-D727-9679-AC44F21C26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01056" y="3719781"/>
            <a:ext cx="6446195" cy="164037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nb-NO" sz="240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nb-NO" sz="260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tatnett er det systemansvarlige nettselskapet og eier av transmisjonsnettet i det norske kraftsystemet. </a:t>
            </a:r>
          </a:p>
          <a:p>
            <a:pPr marL="0" indent="0">
              <a:buNone/>
            </a:pPr>
            <a:r>
              <a:rPr lang="nb-NO" sz="260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Vi har ansvar for en samfunnsøkonomisk rasjonell utvikling og drift av transmisjonsnettet, og at det til hver tid er balanse mellom produksjon og forbruk av elektrisk kraft.</a:t>
            </a: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5E2ADD70-6DE6-1BD9-E153-AC3530E5DF06}"/>
              </a:ext>
            </a:extLst>
          </p:cNvPr>
          <p:cNvSpPr txBox="1">
            <a:spLocks/>
          </p:cNvSpPr>
          <p:nvPr/>
        </p:nvSpPr>
        <p:spPr>
          <a:xfrm>
            <a:off x="5201056" y="513228"/>
            <a:ext cx="3781932" cy="95043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Statnetts visjon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EAF43BBF-13BF-E368-3F1C-ABF4B2C18BFE}"/>
              </a:ext>
            </a:extLst>
          </p:cNvPr>
          <p:cNvSpPr txBox="1">
            <a:spLocks/>
          </p:cNvSpPr>
          <p:nvPr/>
        </p:nvSpPr>
        <p:spPr>
          <a:xfrm>
            <a:off x="5201056" y="1048568"/>
            <a:ext cx="6614807" cy="1640375"/>
          </a:xfrm>
          <a:prstGeom prst="rect">
            <a:avLst/>
          </a:prstGeom>
        </p:spPr>
        <p:txBody>
          <a:bodyPr vert="horz" lIns="91440" tIns="45720" rIns="91440" bIns="45720" numCol="1" spcCol="36000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lang="en-GB" sz="2800" b="0" i="0" kern="1200" baseline="0" dirty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69C80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800"/>
              </a:spcAft>
              <a:buClr>
                <a:srgbClr val="69C805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1000"/>
              </a:spcBef>
              <a:spcAft>
                <a:spcPts val="800"/>
              </a:spcAft>
              <a:buClr>
                <a:srgbClr val="69C8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6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Statnett er sentral i den grønne omstillingen i dag og for kommende generasjoner. Sikker og robust strømforsyning skaper grobunn for gode liv og bærekraftig verdiskaping.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F33C34F-093A-D8FC-8AAB-93BB7C7536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71" t="591" r="10843" b="4049"/>
          <a:stretch/>
        </p:blipFill>
        <p:spPr bwMode="auto">
          <a:xfrm>
            <a:off x="0" y="-1"/>
            <a:ext cx="4669277" cy="6095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89792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A4D69E-7C85-19DE-8F73-DCEF0EA1A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651062"/>
            <a:ext cx="10289893" cy="881956"/>
          </a:xfrm>
        </p:spPr>
        <p:txBody>
          <a:bodyPr>
            <a:normAutofit fontScale="90000"/>
          </a:bodyPr>
          <a:lstStyle/>
          <a:p>
            <a:r>
              <a:rPr lang="nb-NO" sz="3100" b="1">
                <a:solidFill>
                  <a:srgbClr val="414042"/>
                </a:solidFill>
                <a:latin typeface="Arial"/>
                <a:cs typeface="Arial"/>
              </a:rPr>
              <a:t>Hvilke rammer gjelder for  grunn- og rettighetservervet?</a:t>
            </a:r>
            <a:endParaRPr lang="nb-NO" b="1">
              <a:cs typeface="Calibri Light"/>
            </a:endParaRPr>
          </a:p>
        </p:txBody>
      </p:sp>
      <p:pic>
        <p:nvPicPr>
          <p:cNvPr id="4" name="Plassholder for innhold 3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E94869E9-8777-0554-8EF5-7B7279690396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1638369" y="1528943"/>
            <a:ext cx="8915263" cy="4040583"/>
          </a:xfrm>
        </p:spPr>
      </p:pic>
    </p:spTree>
    <p:extLst>
      <p:ext uri="{BB962C8B-B14F-4D97-AF65-F5344CB8AC3E}">
        <p14:creationId xmlns:p14="http://schemas.microsoft.com/office/powerpoint/2010/main" val="748749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750847A-BAC7-24D6-2157-7AAC8B8D3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b="1" kern="1200">
                <a:solidFill>
                  <a:srgbClr val="414042"/>
                </a:solidFill>
                <a:latin typeface="Arial"/>
                <a:ea typeface="+mj-ea"/>
                <a:cs typeface="+mj-cs"/>
              </a:rPr>
              <a:t>Naboer</a:t>
            </a:r>
            <a:endParaRPr lang="nb-NO" b="1">
              <a:cs typeface="Calibri Light"/>
            </a:endParaRPr>
          </a:p>
        </p:txBody>
      </p:sp>
      <p:pic>
        <p:nvPicPr>
          <p:cNvPr id="4" name="Plassholder for innhold 3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2ED0DDD9-118F-8BE7-0ADC-6A8BC3A4FC7A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/>
          <a:stretch>
            <a:fillRect/>
          </a:stretch>
        </p:blipFill>
        <p:spPr>
          <a:xfrm>
            <a:off x="1638369" y="1528943"/>
            <a:ext cx="8915263" cy="4040583"/>
          </a:xfrm>
        </p:spPr>
      </p:pic>
    </p:spTree>
    <p:extLst>
      <p:ext uri="{BB962C8B-B14F-4D97-AF65-F5344CB8AC3E}">
        <p14:creationId xmlns:p14="http://schemas.microsoft.com/office/powerpoint/2010/main" val="35019883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44B097F-C9D6-CAE3-3111-704B7165E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b="1">
                <a:solidFill>
                  <a:srgbClr val="414042"/>
                </a:solidFill>
                <a:latin typeface="Arial"/>
                <a:cs typeface="Arial"/>
              </a:rPr>
              <a:t>Tidsplan for Grunn- og rettighetservervet</a:t>
            </a:r>
            <a:endParaRPr lang="nb-NO" b="1">
              <a:cs typeface="Calibri Light"/>
            </a:endParaRPr>
          </a:p>
        </p:txBody>
      </p:sp>
      <p:pic>
        <p:nvPicPr>
          <p:cNvPr id="4" name="Plassholder for innhold 3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537C0B55-C03C-51B0-CAF0-07534D828665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1638369" y="1557818"/>
            <a:ext cx="8915263" cy="4040583"/>
          </a:xfrm>
        </p:spPr>
      </p:pic>
    </p:spTree>
    <p:extLst>
      <p:ext uri="{BB962C8B-B14F-4D97-AF65-F5344CB8AC3E}">
        <p14:creationId xmlns:p14="http://schemas.microsoft.com/office/powerpoint/2010/main" val="15537218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22DDB1A-0589-EB8A-2D11-FB7BADCF15F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 fontScale="92500" lnSpcReduction="20000"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nb-NO" sz="1700">
              <a:solidFill>
                <a:prstClr val="black"/>
              </a:solidFill>
              <a:latin typeface="Arial"/>
            </a:endParaRPr>
          </a:p>
          <a:p>
            <a:pPr>
              <a:spcBef>
                <a:spcPts val="0"/>
              </a:spcBef>
              <a:buClrTx/>
              <a:buFont typeface="Wingdings" panose="05000000000000000000" pitchFamily="2" charset="2"/>
              <a:buChar char="Ø"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rid Zimmermann</a:t>
            </a:r>
          </a:p>
          <a:p>
            <a:pPr lvl="1">
              <a:spcBef>
                <a:spcPts val="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nb-NO" sz="1300">
                <a:solidFill>
                  <a:prstClr val="black"/>
                </a:solidFill>
                <a:latin typeface="Arial"/>
              </a:rPr>
              <a:t>Kommunikasjonsrådgiver</a:t>
            </a:r>
            <a:r>
              <a:rPr kumimoji="0" lang="nb-NO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	</a:t>
            </a:r>
          </a:p>
          <a:p>
            <a:pPr marL="0" indent="0" algn="l">
              <a:buNone/>
            </a:pPr>
            <a:br>
              <a:rPr lang="nb-NO" sz="1200" b="0" i="0">
                <a:solidFill>
                  <a:srgbClr val="3C3C3B"/>
                </a:solidFill>
                <a:effectLst/>
                <a:latin typeface="museo-sans"/>
                <a:hlinkClick r:id="rId3"/>
              </a:rPr>
            </a:br>
            <a:r>
              <a:rPr lang="nb-NO" sz="1200" b="0" i="0">
                <a:solidFill>
                  <a:srgbClr val="3C3C3B"/>
                </a:solidFill>
                <a:effectLst/>
                <a:latin typeface="museo-sans"/>
                <a:hlinkClick r:id="rId3"/>
              </a:rPr>
              <a:t>ingrid.zimmermann@statnett.no</a:t>
            </a:r>
            <a:r>
              <a:rPr lang="nb-NO" sz="1200" b="0" i="0">
                <a:solidFill>
                  <a:srgbClr val="000000"/>
                </a:solidFill>
                <a:effectLst/>
                <a:latin typeface="museo-sans"/>
              </a:rPr>
              <a:t> </a:t>
            </a:r>
          </a:p>
          <a:p>
            <a:pPr marL="0" indent="0" algn="l">
              <a:buNone/>
            </a:pPr>
            <a:r>
              <a:rPr lang="nb-NO" sz="1200" b="0" i="0">
                <a:solidFill>
                  <a:srgbClr val="DF1920"/>
                </a:solidFill>
                <a:effectLst/>
                <a:latin typeface="museo-sans"/>
                <a:hlinkClick r:id="rId4"/>
              </a:rPr>
              <a:t>+47 48227767</a:t>
            </a:r>
            <a:endParaRPr lang="nb-NO" sz="1200" b="0" i="0">
              <a:solidFill>
                <a:srgbClr val="000000"/>
              </a:solidFill>
              <a:effectLst/>
              <a:latin typeface="museo-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nb-NO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nb-NO" sz="1700">
              <a:solidFill>
                <a:prstClr val="black"/>
              </a:solidFill>
              <a:latin typeface="Arial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cob Grønn</a:t>
            </a:r>
          </a:p>
          <a:p>
            <a:pPr lvl="1">
              <a:spcBef>
                <a:spcPts val="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nb-NO" sz="1300">
                <a:solidFill>
                  <a:prstClr val="black"/>
                </a:solidFill>
                <a:latin typeface="Arial"/>
              </a:rPr>
              <a:t>Prosjektleder</a:t>
            </a: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indent="0" algn="l">
              <a:buNone/>
            </a:pPr>
            <a:r>
              <a:rPr lang="nb-NO" sz="1200" b="0" i="0">
                <a:solidFill>
                  <a:srgbClr val="3C3C3B"/>
                </a:solidFill>
                <a:effectLst/>
                <a:latin typeface="museo-sans"/>
                <a:hlinkClick r:id="rId5"/>
              </a:rPr>
              <a:t>jacob.gronn@statnett.no</a:t>
            </a:r>
            <a:r>
              <a:rPr lang="nb-NO" sz="1200" b="0" i="0">
                <a:solidFill>
                  <a:srgbClr val="000000"/>
                </a:solidFill>
                <a:effectLst/>
                <a:latin typeface="museo-sans"/>
              </a:rPr>
              <a:t> </a:t>
            </a:r>
          </a:p>
          <a:p>
            <a:pPr marL="0" indent="0" algn="l">
              <a:buNone/>
            </a:pPr>
            <a:r>
              <a:rPr lang="nb-NO" sz="1200" b="0" i="0">
                <a:solidFill>
                  <a:srgbClr val="3C3C3B"/>
                </a:solidFill>
                <a:effectLst/>
                <a:latin typeface="museo-sans"/>
                <a:hlinkClick r:id="rId6"/>
              </a:rPr>
              <a:t>+4778932159</a:t>
            </a:r>
            <a:r>
              <a:rPr lang="nb-NO" sz="1200">
                <a:solidFill>
                  <a:srgbClr val="000000"/>
                </a:solidFill>
                <a:latin typeface="museo-sans"/>
              </a:rPr>
              <a:t>    </a:t>
            </a:r>
          </a:p>
          <a:p>
            <a:pPr marL="0" indent="0" algn="l">
              <a:buNone/>
            </a:pPr>
            <a:r>
              <a:rPr lang="nb-NO" sz="1200" b="0" i="0">
                <a:solidFill>
                  <a:srgbClr val="3C3C3B"/>
                </a:solidFill>
                <a:effectLst/>
                <a:latin typeface="museo-sans"/>
                <a:hlinkClick r:id="rId7"/>
              </a:rPr>
              <a:t>+47 908 76 205</a:t>
            </a:r>
            <a:r>
              <a:rPr lang="nb-NO" sz="1200" b="0" i="0">
                <a:solidFill>
                  <a:srgbClr val="000000"/>
                </a:solidFill>
                <a:effectLst/>
                <a:latin typeface="museo-sans"/>
                <a:hlinkClick r:id="rId7"/>
              </a:rPr>
              <a:t> </a:t>
            </a:r>
            <a:r>
              <a:rPr lang="nb-NO" sz="1200" b="0" i="0">
                <a:solidFill>
                  <a:srgbClr val="000000"/>
                </a:solidFill>
                <a:effectLst/>
                <a:latin typeface="museo-sans"/>
              </a:rPr>
              <a:t>(</a:t>
            </a:r>
            <a:r>
              <a:rPr lang="nb-NO" sz="1200" b="0" i="0" err="1">
                <a:solidFill>
                  <a:srgbClr val="000000"/>
                </a:solidFill>
                <a:effectLst/>
                <a:latin typeface="museo-sans"/>
              </a:rPr>
              <a:t>mob</a:t>
            </a:r>
            <a:r>
              <a:rPr lang="nb-NO" sz="1200" b="0" i="0">
                <a:solidFill>
                  <a:srgbClr val="000000"/>
                </a:solidFill>
                <a:effectLst/>
                <a:latin typeface="museo-sans"/>
              </a:rPr>
              <a:t>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nb-NO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b-NO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pen Valli Vikan</a:t>
            </a:r>
          </a:p>
          <a:p>
            <a:pPr lvl="1">
              <a:spcBef>
                <a:spcPts val="0"/>
              </a:spcBef>
              <a:buClrTx/>
              <a:buFont typeface="Courier New" panose="02070309020205020404" pitchFamily="49" charset="0"/>
              <a:buChar char="o"/>
              <a:defRPr/>
            </a:pPr>
            <a:r>
              <a:rPr lang="nb-NO" sz="1300">
                <a:solidFill>
                  <a:prstClr val="black"/>
                </a:solidFill>
                <a:latin typeface="Arial"/>
              </a:rPr>
              <a:t>Grunn og rettighetserver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69C8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err="1">
                <a:solidFill>
                  <a:srgbClr val="3C3C3B"/>
                </a:solidFill>
                <a:latin typeface="museo-sans"/>
                <a:hlinkClick r:id="rId8"/>
              </a:rPr>
              <a:t>espen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museo-sans"/>
                <a:hlinkClick r:id="rId8"/>
              </a:rPr>
              <a:t>.viken@statnett.no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useo-sans"/>
                <a:ea typeface="+mn-ea"/>
                <a:cs typeface="+mn-cs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69C8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>
                <a:solidFill>
                  <a:srgbClr val="3C3C3B"/>
                </a:solidFill>
                <a:latin typeface="museo-sans"/>
                <a:hlinkClick r:id="rId8"/>
              </a:rPr>
              <a:t>+47 992 17 205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useo-sans"/>
              <a:ea typeface="+mn-ea"/>
              <a:cs typeface="+mn-cs"/>
            </a:endParaRPr>
          </a:p>
          <a:p>
            <a:pPr marL="0" indent="0">
              <a:spcBef>
                <a:spcPts val="0"/>
              </a:spcBef>
              <a:buClrTx/>
              <a:buNone/>
              <a:defRPr/>
            </a:pPr>
            <a:endParaRPr lang="nb-NO" sz="170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7E33723-8173-789F-F078-7BD87E446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606" y="171322"/>
            <a:ext cx="9554788" cy="864027"/>
          </a:xfrm>
        </p:spPr>
        <p:txBody>
          <a:bodyPr/>
          <a:lstStyle/>
          <a:p>
            <a:r>
              <a:rPr lang="nb-NO"/>
              <a:t>Kontaktinfo: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B7585C9-B514-F773-C003-9DE7E04D9A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92387" y="1528943"/>
            <a:ext cx="686288" cy="904508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4DF6416B-C972-6288-09CE-6C5CF40811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30431" y="2556612"/>
            <a:ext cx="957155" cy="96325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A6B5CBEE-5FFE-EC0E-B6C3-DB6D79630A9E}"/>
              </a:ext>
            </a:extLst>
          </p:cNvPr>
          <p:cNvSpPr txBox="1"/>
          <p:nvPr/>
        </p:nvSpPr>
        <p:spPr>
          <a:xfrm>
            <a:off x="958291" y="5569526"/>
            <a:ext cx="84380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037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1"/>
              </a:rPr>
              <a:t>Statnetts hjemmeside: Skaidi-Hammerfest | Statnett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1037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CA6EC10B-0484-72FB-B52D-92EF606B4C1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74833" y="3781646"/>
            <a:ext cx="694814" cy="106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227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CA192C41-249C-4172-192D-7CC1117B0AA0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1318606" y="725215"/>
            <a:ext cx="9412456" cy="4844312"/>
          </a:xfrm>
          <a:prstGeom prst="rect">
            <a:avLst/>
          </a:prstGeom>
          <a:noFill/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6FCE9B6-2010-9DBC-3CA4-9EC759FC1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7440" y="9931"/>
            <a:ext cx="9554788" cy="864027"/>
          </a:xfrm>
        </p:spPr>
        <p:txBody>
          <a:bodyPr anchor="b">
            <a:normAutofit/>
          </a:bodyPr>
          <a:lstStyle/>
          <a:p>
            <a:r>
              <a:rPr lang="nb-NO" err="1"/>
              <a:t>Målnett</a:t>
            </a:r>
            <a:r>
              <a:rPr lang="nb-NO"/>
              <a:t> 2040</a:t>
            </a:r>
          </a:p>
        </p:txBody>
      </p:sp>
    </p:spTree>
    <p:extLst>
      <p:ext uri="{BB962C8B-B14F-4D97-AF65-F5344CB8AC3E}">
        <p14:creationId xmlns:p14="http://schemas.microsoft.com/office/powerpoint/2010/main" val="3863881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11270ED-482B-C4E0-D7C3-BB233453C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430" y="348281"/>
            <a:ext cx="9554788" cy="588432"/>
          </a:xfrm>
        </p:spPr>
        <p:txBody>
          <a:bodyPr>
            <a:normAutofit/>
          </a:bodyPr>
          <a:lstStyle/>
          <a:p>
            <a:r>
              <a:rPr lang="nb-NO" sz="2800" b="0" i="0">
                <a:solidFill>
                  <a:srgbClr val="10374D"/>
                </a:solidFill>
                <a:effectLst/>
                <a:latin typeface="Times New Roman" panose="02020603050405020304" pitchFamily="18" charset="0"/>
              </a:rPr>
              <a:t>420 kV Skaidi</a:t>
            </a:r>
            <a:r>
              <a:rPr lang="nb-NO" sz="2800">
                <a:solidFill>
                  <a:srgbClr val="10374D"/>
                </a:solidFill>
                <a:latin typeface="Times New Roman" panose="02020603050405020304" pitchFamily="18" charset="0"/>
              </a:rPr>
              <a:t>- Hammerfest</a:t>
            </a:r>
            <a:endParaRPr lang="nb-NO" sz="440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0186588-F00C-9727-EDDE-D43C3228BD37}"/>
              </a:ext>
            </a:extLst>
          </p:cNvPr>
          <p:cNvSpPr txBox="1"/>
          <p:nvPr/>
        </p:nvSpPr>
        <p:spPr>
          <a:xfrm>
            <a:off x="230113" y="1212307"/>
            <a:ext cx="5865887" cy="423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300" b="0" i="0" u="none" strike="noStrike" kern="1200" cap="none" spc="0" normalizeH="0" baseline="0" noProof="0">
                <a:ln>
                  <a:noFill/>
                </a:ln>
                <a:solidFill>
                  <a:srgbClr val="10374D"/>
                </a:solidFill>
                <a:effectLst/>
                <a:uLnTx/>
                <a:uFillTx/>
                <a:ea typeface="+mn-ea"/>
                <a:cs typeface="+mn-cs"/>
              </a:rPr>
              <a:t>Anleggskonsesjon for ny 420 kV Skaidi – Hammerfest ble gitt 8. august 2023. Regjeringen bekjentgjorde dette på pressekonferanse i Hammerfest samme dag der de presenterte elektrifisering av Melkøya og en pakke / plan om kraft- og industriløft for Finnmark. Det forutsettes samtidig at videreføringen til Øst-Finnmark (Skaidi- Lebesby- </a:t>
            </a:r>
            <a:r>
              <a:rPr kumimoji="0" lang="nb-NO" sz="1300" b="0" i="0" u="none" strike="noStrike" kern="1200" cap="none" spc="0" normalizeH="0" baseline="0" noProof="0" err="1">
                <a:ln>
                  <a:noFill/>
                </a:ln>
                <a:solidFill>
                  <a:srgbClr val="10374D"/>
                </a:solidFill>
                <a:effectLst/>
                <a:uLnTx/>
                <a:uFillTx/>
                <a:ea typeface="+mn-ea"/>
                <a:cs typeface="+mn-cs"/>
              </a:rPr>
              <a:t>Seidafjellet</a:t>
            </a:r>
            <a:r>
              <a:rPr kumimoji="0" lang="nb-NO" sz="1300" b="0" i="0" u="none" strike="noStrike" kern="1200" cap="none" spc="0" normalizeH="0" baseline="0" noProof="0">
                <a:ln>
                  <a:noFill/>
                </a:ln>
                <a:solidFill>
                  <a:srgbClr val="10374D"/>
                </a:solidFill>
                <a:effectLst/>
                <a:uLnTx/>
                <a:uFillTx/>
                <a:ea typeface="+mn-ea"/>
                <a:cs typeface="+mn-cs"/>
              </a:rPr>
              <a:t>) prioriteres, både hos NVE og Statnett</a:t>
            </a:r>
            <a:r>
              <a:rPr lang="nb-NO" sz="1300">
                <a:solidFill>
                  <a:srgbClr val="10374D"/>
                </a:solidFill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300">
              <a:solidFill>
                <a:srgbClr val="10374D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i="0">
                <a:solidFill>
                  <a:srgbClr val="000000"/>
                </a:solidFill>
                <a:effectLst/>
              </a:rPr>
              <a:t>En ny forbindelse fra Skaidi til Hyggevatn i Hammerfest vil øke nettkapasiteten internt i Finnmark og dermed styrke forsyningssikkerheten, legge til rette for næringsutvikling og imøtekomme en fullelektrifisering av Melkøya.</a:t>
            </a:r>
            <a:endParaRPr lang="nb-NO" sz="1300">
              <a:solidFill>
                <a:srgbClr val="10374D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10374D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300">
                <a:solidFill>
                  <a:srgbClr val="10374D"/>
                </a:solidFill>
              </a:rPr>
              <a:t>Styrevedtak 23. november 2023 om oppstart gjennomføring av prosjektet Skaidi- Hammerfes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10374D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 b="0" i="0">
                <a:solidFill>
                  <a:srgbClr val="000000"/>
                </a:solidFill>
                <a:effectLst/>
                <a:latin typeface="museo-sans"/>
              </a:rPr>
              <a:t>Prosjektet Skaidi - Hammerfest er en videreføring av den nye kraftlinja Balsfjord – Skaidi som fortsatt er under utbygging. Prosjektet inngår som en del av Statnetts opprinnelige konsesjonssøknad fra 2009 for strekningen Balsfjord – Skaidi - Hammerfest. Olje- og energidepartementet (OED) innvilget endelig konsesjon i 2015 for strekningen Balsfjord – Skaidi.</a:t>
            </a: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10374D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10374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08D788CD-C281-A4B4-A47E-F325FE99D8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3833" y="936713"/>
            <a:ext cx="6077207" cy="4276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372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26C6157-EC16-3A32-263E-DE89E136B65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74654" y="453599"/>
            <a:ext cx="5774471" cy="3106270"/>
          </a:xfrm>
        </p:spPr>
        <p:txBody>
          <a:bodyPr>
            <a:normAutofit/>
          </a:bodyPr>
          <a:lstStyle/>
          <a:p>
            <a:pPr marL="228600" marR="0" lvl="0" indent="-22860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69C80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Spenningsnivå: 420 kV</a:t>
            </a:r>
            <a:endParaRPr lang="nb-NO" sz="1700" b="0" i="0" dirty="0">
              <a:effectLst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effectLst/>
              </a:rPr>
              <a:t>Ny 420 kV ledning. Antall kilometer: </a:t>
            </a:r>
            <a:r>
              <a:rPr lang="nb-NO" sz="1700" b="0" i="0" dirty="0" err="1">
                <a:effectLst/>
              </a:rPr>
              <a:t>ca</a:t>
            </a:r>
            <a:r>
              <a:rPr lang="nb-NO" sz="1700" b="0" i="0" dirty="0">
                <a:effectLst/>
              </a:rPr>
              <a:t> 54 km 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effectLst/>
              </a:rPr>
              <a:t>Stasjoner: Ny 420 kV Hyggevatn og Skaidi stasjon må utvides med 420 kV transformering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effectLst/>
              </a:rPr>
              <a:t>Fremdrift: Planlagt oppstart mai/juni 2024</a:t>
            </a:r>
          </a:p>
          <a:p>
            <a:pPr lvl="3">
              <a:lnSpc>
                <a:spcPct val="90000"/>
              </a:lnSpc>
            </a:pPr>
            <a:r>
              <a:rPr lang="nb-NO" sz="1700" dirty="0">
                <a:solidFill>
                  <a:schemeClr val="bg1"/>
                </a:solidFill>
              </a:rPr>
              <a:t>Forutsetter at nødvendige tillatelser er på plass</a:t>
            </a:r>
            <a:endParaRPr lang="nb-NO" sz="1700" b="0" i="0" dirty="0">
              <a:solidFill>
                <a:schemeClr val="bg1"/>
              </a:solidFill>
              <a:effectLst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effectLst/>
              </a:rPr>
              <a:t>Kommuner som berøres: Hammerfest kommune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effectLst/>
              </a:rPr>
              <a:t>Forventet kostnadsestimat (millioner norske kroner):</a:t>
            </a:r>
          </a:p>
          <a:p>
            <a:pPr marL="742950" lvl="1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sz="1700" b="0" i="0" dirty="0">
                <a:solidFill>
                  <a:schemeClr val="bg1"/>
                </a:solidFill>
                <a:effectLst/>
              </a:rPr>
              <a:t>Beslutning om byggestart (BP3) 2023: 2700-3500 </a:t>
            </a:r>
          </a:p>
          <a:p>
            <a:pPr>
              <a:lnSpc>
                <a:spcPct val="90000"/>
              </a:lnSpc>
            </a:pPr>
            <a:endParaRPr lang="nb-NO" sz="17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ECEB3B2-38A9-2AD2-B6F7-8DD13DD2E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r>
              <a:rPr lang="en-US"/>
              <a:t>Fakta om </a:t>
            </a:r>
            <a:r>
              <a:rPr lang="en-US" err="1"/>
              <a:t>prosjektet</a:t>
            </a:r>
            <a:r>
              <a:rPr lang="en-US"/>
              <a:t>:</a:t>
            </a:r>
          </a:p>
        </p:txBody>
      </p:sp>
      <p:pic>
        <p:nvPicPr>
          <p:cNvPr id="4" name="Plassholder for bilde 6">
            <a:extLst>
              <a:ext uri="{FF2B5EF4-FFF2-40B4-BE49-F238E27FC236}">
                <a16:creationId xmlns:a16="http://schemas.microsoft.com/office/drawing/2014/main" id="{6F0AF69E-F566-6BFA-172F-22E52507F8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414" r="18900" b="1"/>
          <a:stretch/>
        </p:blipFill>
        <p:spPr>
          <a:xfrm>
            <a:off x="20" y="218114"/>
            <a:ext cx="6095980" cy="66342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285305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A6508-16A8-0D37-39BD-5B58223BE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7109" y="0"/>
            <a:ext cx="9554788" cy="950430"/>
          </a:xfrm>
        </p:spPr>
        <p:txBody>
          <a:bodyPr>
            <a:normAutofit/>
          </a:bodyPr>
          <a:lstStyle/>
          <a:p>
            <a:pPr algn="ctr"/>
            <a:r>
              <a:rPr lang="nb-NO"/>
              <a:t>Overordnet fremdrifts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1636A0-580F-AE6B-CD8E-6CB9324E98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318605" y="1857914"/>
            <a:ext cx="3445899" cy="3713829"/>
          </a:xfrm>
        </p:spPr>
        <p:txBody>
          <a:bodyPr/>
          <a:lstStyle/>
          <a:p>
            <a:endParaRPr lang="nb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D5CD0B8-B7B4-C356-712A-3DA5F04136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6523" y="2014438"/>
            <a:ext cx="4108965" cy="28291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42BD4AB-547F-0F88-A8FE-731C2567B8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391" y="1008000"/>
            <a:ext cx="9515352" cy="4699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072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9656FDD-F419-2C2B-62AF-4FF17A8CF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C57E320-4854-8572-09B6-A1AB0CA73D29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 descr="Et bilde som inneholder sky, utendørs, himmel, landskap&#10;&#10;Automatisk generert beskrivelse">
            <a:extLst>
              <a:ext uri="{FF2B5EF4-FFF2-40B4-BE49-F238E27FC236}">
                <a16:creationId xmlns:a16="http://schemas.microsoft.com/office/drawing/2014/main" id="{75162091-5178-ADDB-5890-7D1E554444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557174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39294AB6-679D-4E51-9DA0-E4A5CE0E6A5D}"/>
              </a:ext>
            </a:extLst>
          </p:cNvPr>
          <p:cNvSpPr txBox="1"/>
          <p:nvPr/>
        </p:nvSpPr>
        <p:spPr>
          <a:xfrm>
            <a:off x="149177" y="871765"/>
            <a:ext cx="413280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/>
              <a:t>Hyggevatn transformator stasj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Planlagt oppstart juni 2024</a:t>
            </a:r>
            <a:endParaRPr lang="nb-NO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Grunnarbeider, bygg og betong, </a:t>
            </a:r>
            <a:r>
              <a:rPr lang="nb-NO" err="1"/>
              <a:t>Consto</a:t>
            </a: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Elektro leveranse, kontrakt settes juni 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Planlagt ferdigstillelse: Q12028</a:t>
            </a:r>
            <a:endParaRPr lang="nb-NO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7400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A3ACCE-F806-1A0F-30CC-A4CC400A9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akta Hyggevatn: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757EEE3-DF34-E92D-0366-CD0C53543D9F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numCol="1" spcCol="360000" rtlCol="0" anchor="t">
            <a:normAutofit/>
          </a:bodyPr>
          <a:lstStyle/>
          <a:p>
            <a:r>
              <a:rPr lang="nb-NO">
                <a:latin typeface="Calibri Light"/>
                <a:cs typeface="Calibri Light"/>
              </a:rPr>
              <a:t>Oppgradere vei, og bygge ny vei i deler av traseen fra Fv-8124 (mot Forsøl)</a:t>
            </a:r>
          </a:p>
          <a:p>
            <a:r>
              <a:rPr lang="nb-NO">
                <a:latin typeface="Calibri Light"/>
                <a:cs typeface="Calibri Light"/>
              </a:rPr>
              <a:t>Spreng ut og anordne byggegrop</a:t>
            </a:r>
          </a:p>
          <a:p>
            <a:r>
              <a:rPr lang="nb-NO">
                <a:latin typeface="Calibri Light"/>
                <a:cs typeface="Calibri Light"/>
              </a:rPr>
              <a:t>Utkjøring av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40000m³.</a:t>
            </a:r>
          </a:p>
          <a:p>
            <a:r>
              <a:rPr lang="nb-NO">
                <a:latin typeface="Calibri Light"/>
                <a:cs typeface="Calibri Light"/>
              </a:rPr>
              <a:t>Fotavtrykk bygningsmasse,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6000m²</a:t>
            </a:r>
          </a:p>
          <a:p>
            <a:r>
              <a:rPr lang="nb-NO">
                <a:latin typeface="Calibri Light"/>
                <a:cs typeface="Calibri Light"/>
              </a:rPr>
              <a:t>Lukkede trafosjakter, 3 stk. Høyden på sjaktene vil være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25 meter</a:t>
            </a:r>
          </a:p>
          <a:p>
            <a:r>
              <a:rPr lang="nb-NO">
                <a:latin typeface="Calibri Light"/>
                <a:cs typeface="Calibri Light"/>
              </a:rPr>
              <a:t>Betong som vil medgå i byggeprosessen, </a:t>
            </a:r>
            <a:r>
              <a:rPr lang="nb-NO" err="1">
                <a:latin typeface="Calibri Light"/>
                <a:cs typeface="Calibri Light"/>
              </a:rPr>
              <a:t>ca</a:t>
            </a:r>
            <a:r>
              <a:rPr lang="nb-NO">
                <a:latin typeface="Calibri Light"/>
                <a:cs typeface="Calibri Light"/>
              </a:rPr>
              <a:t> 10 000m³</a:t>
            </a:r>
          </a:p>
          <a:p>
            <a:r>
              <a:rPr lang="nb-NO">
                <a:latin typeface="Calibri Light"/>
                <a:cs typeface="Calibri Light"/>
              </a:rPr>
              <a:t>Trafotransport fra Fuglenes</a:t>
            </a:r>
          </a:p>
          <a:p>
            <a:endParaRPr lang="nb-NO"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024011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1">
      <a:dk1>
        <a:srgbClr val="10374D"/>
      </a:dk1>
      <a:lt1>
        <a:srgbClr val="FFFFFF"/>
      </a:lt1>
      <a:dk2>
        <a:srgbClr val="015571"/>
      </a:dk2>
      <a:lt2>
        <a:srgbClr val="71D6E0"/>
      </a:lt2>
      <a:accent1>
        <a:srgbClr val="7CE11E"/>
      </a:accent1>
      <a:accent2>
        <a:srgbClr val="69C805"/>
      </a:accent2>
      <a:accent3>
        <a:srgbClr val="00ABC5"/>
      </a:accent3>
      <a:accent4>
        <a:srgbClr val="008AA1"/>
      </a:accent4>
      <a:accent5>
        <a:srgbClr val="F1D5C2"/>
      </a:accent5>
      <a:accent6>
        <a:srgbClr val="F88F8B"/>
      </a:accent6>
      <a:hlink>
        <a:srgbClr val="003B6D"/>
      </a:hlink>
      <a:folHlink>
        <a:srgbClr val="8B9EC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C0705192-1862-47E2-B1C4-B2C08324775A}" vid="{522CD949-BD09-4F4E-ABF0-09943B90ED0F}"/>
    </a:ext>
  </a:extLst>
</a:theme>
</file>

<file path=ppt/theme/theme2.xml><?xml version="1.0" encoding="utf-8"?>
<a:theme xmlns:a="http://schemas.openxmlformats.org/drawingml/2006/main" name="1_Office-tema">
  <a:themeElements>
    <a:clrScheme name="Custom 1">
      <a:dk1>
        <a:srgbClr val="10374D"/>
      </a:dk1>
      <a:lt1>
        <a:srgbClr val="FFFFFF"/>
      </a:lt1>
      <a:dk2>
        <a:srgbClr val="015571"/>
      </a:dk2>
      <a:lt2>
        <a:srgbClr val="71D6E0"/>
      </a:lt2>
      <a:accent1>
        <a:srgbClr val="7CE11E"/>
      </a:accent1>
      <a:accent2>
        <a:srgbClr val="69C805"/>
      </a:accent2>
      <a:accent3>
        <a:srgbClr val="00ABC5"/>
      </a:accent3>
      <a:accent4>
        <a:srgbClr val="008AA1"/>
      </a:accent4>
      <a:accent5>
        <a:srgbClr val="F1D5C2"/>
      </a:accent5>
      <a:accent6>
        <a:srgbClr val="F88F8B"/>
      </a:accent6>
      <a:hlink>
        <a:srgbClr val="003B6D"/>
      </a:hlink>
      <a:folHlink>
        <a:srgbClr val="8B9EC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C0705192-1862-47E2-B1C4-B2C08324775A}" vid="{522CD949-BD09-4F4E-ABF0-09943B90ED0F}"/>
    </a:ext>
  </a:extLst>
</a:theme>
</file>

<file path=ppt/theme/theme3.xml><?xml version="1.0" encoding="utf-8"?>
<a:theme xmlns:a="http://schemas.openxmlformats.org/drawingml/2006/main" name="3_Office-tema">
  <a:themeElements>
    <a:clrScheme name="Custom 1">
      <a:dk1>
        <a:srgbClr val="10374D"/>
      </a:dk1>
      <a:lt1>
        <a:srgbClr val="FFFFFF"/>
      </a:lt1>
      <a:dk2>
        <a:srgbClr val="015571"/>
      </a:dk2>
      <a:lt2>
        <a:srgbClr val="71D6E0"/>
      </a:lt2>
      <a:accent1>
        <a:srgbClr val="7CE11E"/>
      </a:accent1>
      <a:accent2>
        <a:srgbClr val="69C805"/>
      </a:accent2>
      <a:accent3>
        <a:srgbClr val="00ABC5"/>
      </a:accent3>
      <a:accent4>
        <a:srgbClr val="008AA1"/>
      </a:accent4>
      <a:accent5>
        <a:srgbClr val="F1D5C2"/>
      </a:accent5>
      <a:accent6>
        <a:srgbClr val="F88F8B"/>
      </a:accent6>
      <a:hlink>
        <a:srgbClr val="003B6D"/>
      </a:hlink>
      <a:folHlink>
        <a:srgbClr val="8B9EC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6C4C0FBA-0547-FD4C-82D5-3CBF8FF06C32}" vid="{BC82CC26-7DF9-2049-ABF2-DBCB82E1DD7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1B3461E2E73C4FB74E977C71FCEA62" ma:contentTypeVersion="3" ma:contentTypeDescription="Opprett et nytt dokument." ma:contentTypeScope="" ma:versionID="6223d179f591bb5c507bf5cf22f11968">
  <xsd:schema xmlns:xsd="http://www.w3.org/2001/XMLSchema" xmlns:xs="http://www.w3.org/2001/XMLSchema" xmlns:p="http://schemas.microsoft.com/office/2006/metadata/properties" xmlns:ns2="e45deec9-c6cd-4c9a-a6a7-002bfbb4a200" targetNamespace="http://schemas.microsoft.com/office/2006/metadata/properties" ma:root="true" ma:fieldsID="3a6064952d1ab22f28e430e8de97c804" ns2:_="">
    <xsd:import namespace="e45deec9-c6cd-4c9a-a6a7-002bfbb4a2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5deec9-c6cd-4c9a-a6a7-002bfbb4a2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2DCF54-7F11-4B6B-AA36-16F6309A6C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023452-E3AB-4785-A30B-E4820ED13446}">
  <ds:schemaRefs>
    <ds:schemaRef ds:uri="e45deec9-c6cd-4c9a-a6a7-002bfbb4a20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9976557-0FDA-4849-9AF2-1EBB9C34D82C}">
  <ds:schemaRefs>
    <ds:schemaRef ds:uri="http://purl.org/dc/elements/1.1/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e45deec9-c6cd-4c9a-a6a7-002bfbb4a200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tnett konseptmal Det grønne skiftet</Template>
  <TotalTime>0</TotalTime>
  <Words>1723</Words>
  <Application>Microsoft Office PowerPoint</Application>
  <PresentationFormat>Widescreen</PresentationFormat>
  <Paragraphs>237</Paragraphs>
  <Slides>33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3</vt:i4>
      </vt:variant>
    </vt:vector>
  </HeadingPairs>
  <TitlesOfParts>
    <vt:vector size="46" baseType="lpstr">
      <vt:lpstr>Arial</vt:lpstr>
      <vt:lpstr>Calibri</vt:lpstr>
      <vt:lpstr>Calibri Light</vt:lpstr>
      <vt:lpstr>Courier New</vt:lpstr>
      <vt:lpstr>Courier New,monospace</vt:lpstr>
      <vt:lpstr>museo-sans</vt:lpstr>
      <vt:lpstr>Publico text</vt:lpstr>
      <vt:lpstr>Times New Roman</vt:lpstr>
      <vt:lpstr>Wingdings</vt:lpstr>
      <vt:lpstr>Office-tema</vt:lpstr>
      <vt:lpstr>1_Office-tema</vt:lpstr>
      <vt:lpstr>3_Office-tema</vt:lpstr>
      <vt:lpstr>think-cell Slide</vt:lpstr>
      <vt:lpstr>420 kV Skaidi- Hammerfest</vt:lpstr>
      <vt:lpstr>Agenda:</vt:lpstr>
      <vt:lpstr>Statnetts oppdrag</vt:lpstr>
      <vt:lpstr>Målnett 2040</vt:lpstr>
      <vt:lpstr>420 kV Skaidi- Hammerfest</vt:lpstr>
      <vt:lpstr>Fakta om prosjektet:</vt:lpstr>
      <vt:lpstr>Overordnet fremdriftsplan</vt:lpstr>
      <vt:lpstr>PowerPoint-presentasjon</vt:lpstr>
      <vt:lpstr>Fakta Hyggevatn:</vt:lpstr>
      <vt:lpstr>PowerPoint-presentasjon</vt:lpstr>
      <vt:lpstr>Fakta: Skaidi transformator stasjon</vt:lpstr>
      <vt:lpstr>PowerPoint-presentasjon</vt:lpstr>
      <vt:lpstr>Hvem gjør hva ?</vt:lpstr>
      <vt:lpstr>Detaljplan</vt:lpstr>
      <vt:lpstr>Detaljplaner Skaidi - Hyggevatn</vt:lpstr>
      <vt:lpstr>Status Detaljplan Hyggevatn</vt:lpstr>
      <vt:lpstr>Detaljplankart</vt:lpstr>
      <vt:lpstr>Detaljplankrav</vt:lpstr>
      <vt:lpstr>Ivareta sikkerhet for 3. part </vt:lpstr>
      <vt:lpstr>Støyende aktivitet</vt:lpstr>
      <vt:lpstr>Restriksjoner</vt:lpstr>
      <vt:lpstr>Terrenginngrep og istandsetting</vt:lpstr>
      <vt:lpstr>Terrengrestaurering / istandsetting</vt:lpstr>
      <vt:lpstr>Veier og baseplasser – utbedring, vedlikehold og opparbeidelse</vt:lpstr>
      <vt:lpstr>Massedeponier</vt:lpstr>
      <vt:lpstr>Trafotransport</vt:lpstr>
      <vt:lpstr> Grunn- og Rettighetserverv</vt:lpstr>
      <vt:lpstr>Grunnervervsprosessen</vt:lpstr>
      <vt:lpstr>Hvilke tillatelser får Statnett?</vt:lpstr>
      <vt:lpstr>Hvilke rammer gjelder for  grunn- og rettighetservervet?</vt:lpstr>
      <vt:lpstr>Naboer</vt:lpstr>
      <vt:lpstr>Tidsplan for Grunn- og rettighetservervet</vt:lpstr>
      <vt:lpstr>Kontaktinfo:</vt:lpstr>
    </vt:vector>
  </TitlesOfParts>
  <Company>Statnett S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20 kV Skaidi- Hammerfest</dc:title>
  <dc:creator>Jacob Grønn</dc:creator>
  <cp:lastModifiedBy>Jacob Grønn</cp:lastModifiedBy>
  <cp:revision>1</cp:revision>
  <dcterms:created xsi:type="dcterms:W3CDTF">2024-04-17T12:09:05Z</dcterms:created>
  <dcterms:modified xsi:type="dcterms:W3CDTF">2024-04-23T15:2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5b74f4c-7570-4ac9-8413-c450456f7dc6_Enabled">
    <vt:lpwstr>true</vt:lpwstr>
  </property>
  <property fmtid="{D5CDD505-2E9C-101B-9397-08002B2CF9AE}" pid="3" name="MSIP_Label_55b74f4c-7570-4ac9-8413-c450456f7dc6_SetDate">
    <vt:lpwstr>2022-10-31T08:28:22Z</vt:lpwstr>
  </property>
  <property fmtid="{D5CDD505-2E9C-101B-9397-08002B2CF9AE}" pid="4" name="MSIP_Label_55b74f4c-7570-4ac9-8413-c450456f7dc6_Method">
    <vt:lpwstr>Privileged</vt:lpwstr>
  </property>
  <property fmtid="{D5CDD505-2E9C-101B-9397-08002B2CF9AE}" pid="5" name="MSIP_Label_55b74f4c-7570-4ac9-8413-c450456f7dc6_Name">
    <vt:lpwstr>Statnett intern_0</vt:lpwstr>
  </property>
  <property fmtid="{D5CDD505-2E9C-101B-9397-08002B2CF9AE}" pid="6" name="MSIP_Label_55b74f4c-7570-4ac9-8413-c450456f7dc6_SiteId">
    <vt:lpwstr>a8d61462-f252-44b2-bf6a-d7231960c041</vt:lpwstr>
  </property>
  <property fmtid="{D5CDD505-2E9C-101B-9397-08002B2CF9AE}" pid="7" name="MSIP_Label_55b74f4c-7570-4ac9-8413-c450456f7dc6_ActionId">
    <vt:lpwstr>ca600fa3-1130-4304-85a7-782a256640be</vt:lpwstr>
  </property>
  <property fmtid="{D5CDD505-2E9C-101B-9397-08002B2CF9AE}" pid="8" name="MSIP_Label_55b74f4c-7570-4ac9-8413-c450456f7dc6_ContentBits">
    <vt:lpwstr>0</vt:lpwstr>
  </property>
  <property fmtid="{D5CDD505-2E9C-101B-9397-08002B2CF9AE}" pid="9" name="ContentTypeId">
    <vt:lpwstr>0x010100231B3461E2E73C4FB74E977C71FCEA62</vt:lpwstr>
  </property>
</Properties>
</file>